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69" r:id="rId5"/>
    <p:sldId id="256" r:id="rId6"/>
    <p:sldId id="267" r:id="rId7"/>
    <p:sldId id="258" r:id="rId8"/>
    <p:sldId id="285" r:id="rId9"/>
    <p:sldId id="268" r:id="rId10"/>
    <p:sldId id="279" r:id="rId11"/>
    <p:sldId id="272" r:id="rId12"/>
    <p:sldId id="271" r:id="rId13"/>
    <p:sldId id="278" r:id="rId14"/>
    <p:sldId id="273" r:id="rId15"/>
    <p:sldId id="280" r:id="rId16"/>
    <p:sldId id="277" r:id="rId17"/>
    <p:sldId id="293" r:id="rId18"/>
    <p:sldId id="274" r:id="rId19"/>
    <p:sldId id="282" r:id="rId20"/>
    <p:sldId id="281" r:id="rId21"/>
    <p:sldId id="284" r:id="rId22"/>
    <p:sldId id="275" r:id="rId23"/>
    <p:sldId id="276" r:id="rId24"/>
    <p:sldId id="286" r:id="rId25"/>
    <p:sldId id="266" r:id="rId26"/>
  </p:sldIdLst>
  <p:sldSz cx="12192000" cy="6858000"/>
  <p:notesSz cx="6858000" cy="9144000"/>
  <p:custDataLst>
    <p:tags r:id="rId2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CDD512-9098-6DCD-1FC7-F3D668B9DC14}" v="18" dt="2024-12-02T14:54:47.389"/>
    <p1510:client id="{71069809-1A04-BBD4-7BC9-494E178848B1}" v="1" dt="2024-12-02T14:41:19.247"/>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333" autoAdjust="0"/>
  </p:normalViewPr>
  <p:slideViewPr>
    <p:cSldViewPr snapToGrid="0">
      <p:cViewPr varScale="1">
        <p:scale>
          <a:sx n="88" d="100"/>
          <a:sy n="88" d="100"/>
        </p:scale>
        <p:origin x="1356"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e Posma" userId="S::e.posma@pznl.nl::0b5ac1b5-28cd-4814-9a1c-0820a8913ccf" providerId="AD" clId="Web-{02F3921C-BF4D-4BDC-C3CA-8BA1A5CA5690}"/>
    <pc:docChg chg="modSld">
      <pc:chgData name="Elise Posma" userId="S::e.posma@pznl.nl::0b5ac1b5-28cd-4814-9a1c-0820a8913ccf" providerId="AD" clId="Web-{02F3921C-BF4D-4BDC-C3CA-8BA1A5CA5690}" dt="2024-04-22T13:36:52.692" v="215"/>
      <pc:docMkLst>
        <pc:docMk/>
      </pc:docMkLst>
      <pc:sldChg chg="modSp delCm modCm modNotes">
        <pc:chgData name="Elise Posma" userId="S::e.posma@pznl.nl::0b5ac1b5-28cd-4814-9a1c-0820a8913ccf" providerId="AD" clId="Web-{02F3921C-BF4D-4BDC-C3CA-8BA1A5CA5690}" dt="2024-04-22T13:36:52.692" v="215"/>
        <pc:sldMkLst>
          <pc:docMk/>
          <pc:sldMk cId="2310427119" sldId="276"/>
        </pc:sldMkLst>
        <pc:spChg chg="mod">
          <ac:chgData name="Elise Posma" userId="S::e.posma@pznl.nl::0b5ac1b5-28cd-4814-9a1c-0820a8913ccf" providerId="AD" clId="Web-{02F3921C-BF4D-4BDC-C3CA-8BA1A5CA5690}" dt="2024-04-22T13:34:33.218" v="16" actId="20577"/>
          <ac:spMkLst>
            <pc:docMk/>
            <pc:sldMk cId="2310427119" sldId="276"/>
            <ac:spMk id="10" creationId="{0AFA99E9-A936-FEA0-C97B-FC32E5F1AB3D}"/>
          </ac:spMkLst>
        </pc:spChg>
        <pc:extLst>
          <p:ext xmlns:p="http://schemas.openxmlformats.org/presentationml/2006/main" uri="{D6D511B9-2390-475A-947B-AFAB55BFBCF1}">
            <pc226:cmChg xmlns:pc226="http://schemas.microsoft.com/office/powerpoint/2022/06/main/command" chg="del mod">
              <pc226:chgData name="Elise Posma" userId="S::e.posma@pznl.nl::0b5ac1b5-28cd-4814-9a1c-0820a8913ccf" providerId="AD" clId="Web-{02F3921C-BF4D-4BDC-C3CA-8BA1A5CA5690}" dt="2024-04-22T13:36:51.521" v="214"/>
              <pc2:cmMkLst xmlns:pc2="http://schemas.microsoft.com/office/powerpoint/2019/9/main/command">
                <pc:docMk/>
                <pc:sldMk cId="2310427119" sldId="276"/>
                <pc2:cmMk id="{2A8164EC-7164-45EA-8CD6-2985CC7007C5}"/>
              </pc2:cmMkLst>
            </pc226:cmChg>
          </p:ext>
        </pc:extLst>
      </pc:sldChg>
    </pc:docChg>
  </pc:docChgLst>
  <pc:docChgLst>
    <pc:chgData name="Marjolein Verkammen" userId="S::m.verkammen@pznl.nl::0ae96f37-4948-4b94-bebe-6ce91fbaf111" providerId="AD" clId="Web-{883CDAAB-18EC-D8D7-5D99-01B815FF8195}"/>
    <pc:docChg chg="modSld">
      <pc:chgData name="Marjolein Verkammen" userId="S::m.verkammen@pznl.nl::0ae96f37-4948-4b94-bebe-6ce91fbaf111" providerId="AD" clId="Web-{883CDAAB-18EC-D8D7-5D99-01B815FF8195}" dt="2024-01-16T17:55:06.089" v="47"/>
      <pc:docMkLst>
        <pc:docMk/>
      </pc:docMkLst>
      <pc:sldChg chg="modNotes">
        <pc:chgData name="Marjolein Verkammen" userId="S::m.verkammen@pznl.nl::0ae96f37-4948-4b94-bebe-6ce91fbaf111" providerId="AD" clId="Web-{883CDAAB-18EC-D8D7-5D99-01B815FF8195}" dt="2024-01-16T17:54:56.652" v="40"/>
        <pc:sldMkLst>
          <pc:docMk/>
          <pc:sldMk cId="2979246287" sldId="258"/>
        </pc:sldMkLst>
      </pc:sldChg>
      <pc:sldChg chg="modNotes">
        <pc:chgData name="Marjolein Verkammen" userId="S::m.verkammen@pznl.nl::0ae96f37-4948-4b94-bebe-6ce91fbaf111" providerId="AD" clId="Web-{883CDAAB-18EC-D8D7-5D99-01B815FF8195}" dt="2024-01-16T17:54:41.229" v="36"/>
        <pc:sldMkLst>
          <pc:docMk/>
          <pc:sldMk cId="2326729184" sldId="267"/>
        </pc:sldMkLst>
      </pc:sldChg>
      <pc:sldChg chg="modNotes">
        <pc:chgData name="Marjolein Verkammen" userId="S::m.verkammen@pznl.nl::0ae96f37-4948-4b94-bebe-6ce91fbaf111" providerId="AD" clId="Web-{883CDAAB-18EC-D8D7-5D99-01B815FF8195}" dt="2024-01-16T17:55:06.089" v="47"/>
        <pc:sldMkLst>
          <pc:docMk/>
          <pc:sldMk cId="409741479" sldId="268"/>
        </pc:sldMkLst>
      </pc:sldChg>
      <pc:sldChg chg="modSp modNotes">
        <pc:chgData name="Marjolein Verkammen" userId="S::m.verkammen@pznl.nl::0ae96f37-4948-4b94-bebe-6ce91fbaf111" providerId="AD" clId="Web-{883CDAAB-18EC-D8D7-5D99-01B815FF8195}" dt="2024-01-16T17:54:09.916" v="18"/>
        <pc:sldMkLst>
          <pc:docMk/>
          <pc:sldMk cId="3307292787" sldId="269"/>
        </pc:sldMkLst>
        <pc:spChg chg="mod">
          <ac:chgData name="Marjolein Verkammen" userId="S::m.verkammen@pznl.nl::0ae96f37-4948-4b94-bebe-6ce91fbaf111" providerId="AD" clId="Web-{883CDAAB-18EC-D8D7-5D99-01B815FF8195}" dt="2024-01-16T17:53:39.430" v="7" actId="20577"/>
          <ac:spMkLst>
            <pc:docMk/>
            <pc:sldMk cId="3307292787" sldId="269"/>
            <ac:spMk id="8" creationId="{6189840A-674E-1182-65C7-A7C014F02347}"/>
          </ac:spMkLst>
        </pc:spChg>
      </pc:sldChg>
    </pc:docChg>
  </pc:docChgLst>
  <pc:docChgLst>
    <pc:chgData name="Elise Posma" userId="S::e.posma@pznl.nl::0b5ac1b5-28cd-4814-9a1c-0820a8913ccf" providerId="AD" clId="Web-{6E11A428-42F3-337A-B846-5B5F2D9648DF}"/>
    <pc:docChg chg="modSld">
      <pc:chgData name="Elise Posma" userId="S::e.posma@pznl.nl::0b5ac1b5-28cd-4814-9a1c-0820a8913ccf" providerId="AD" clId="Web-{6E11A428-42F3-337A-B846-5B5F2D9648DF}" dt="2024-05-27T13:05:20.109" v="0" actId="20577"/>
      <pc:docMkLst>
        <pc:docMk/>
      </pc:docMkLst>
      <pc:sldChg chg="modSp">
        <pc:chgData name="Elise Posma" userId="S::e.posma@pznl.nl::0b5ac1b5-28cd-4814-9a1c-0820a8913ccf" providerId="AD" clId="Web-{6E11A428-42F3-337A-B846-5B5F2D9648DF}" dt="2024-05-27T13:05:20.109" v="0" actId="20577"/>
        <pc:sldMkLst>
          <pc:docMk/>
          <pc:sldMk cId="1329402463" sldId="274"/>
        </pc:sldMkLst>
        <pc:spChg chg="mod">
          <ac:chgData name="Elise Posma" userId="S::e.posma@pznl.nl::0b5ac1b5-28cd-4814-9a1c-0820a8913ccf" providerId="AD" clId="Web-{6E11A428-42F3-337A-B846-5B5F2D9648DF}" dt="2024-05-27T13:05:20.109" v="0" actId="20577"/>
          <ac:spMkLst>
            <pc:docMk/>
            <pc:sldMk cId="1329402463" sldId="274"/>
            <ac:spMk id="10" creationId="{0AFA99E9-A936-FEA0-C97B-FC32E5F1AB3D}"/>
          </ac:spMkLst>
        </pc:spChg>
      </pc:sldChg>
    </pc:docChg>
  </pc:docChgLst>
  <pc:docChgLst>
    <pc:chgData name="Elise Posma" userId="S::e.posma@pznl.nl::0b5ac1b5-28cd-4814-9a1c-0820a8913ccf" providerId="AD" clId="Web-{0F5609D8-ED70-F97F-6DC3-186B68246540}"/>
    <pc:docChg chg="addSld modSld">
      <pc:chgData name="Elise Posma" userId="S::e.posma@pznl.nl::0b5ac1b5-28cd-4814-9a1c-0820a8913ccf" providerId="AD" clId="Web-{0F5609D8-ED70-F97F-6DC3-186B68246540}" dt="2024-05-27T12:25:50.444" v="354" actId="20577"/>
      <pc:docMkLst>
        <pc:docMk/>
      </pc:docMkLst>
      <pc:sldChg chg="addSp delSp modSp">
        <pc:chgData name="Elise Posma" userId="S::e.posma@pznl.nl::0b5ac1b5-28cd-4814-9a1c-0820a8913ccf" providerId="AD" clId="Web-{0F5609D8-ED70-F97F-6DC3-186B68246540}" dt="2024-05-27T12:20:32.514" v="224" actId="1076"/>
        <pc:sldMkLst>
          <pc:docMk/>
          <pc:sldMk cId="1504154189" sldId="272"/>
        </pc:sldMkLst>
        <pc:picChg chg="add mod">
          <ac:chgData name="Elise Posma" userId="S::e.posma@pznl.nl::0b5ac1b5-28cd-4814-9a1c-0820a8913ccf" providerId="AD" clId="Web-{0F5609D8-ED70-F97F-6DC3-186B68246540}" dt="2024-05-27T12:20:32.514" v="224" actId="1076"/>
          <ac:picMkLst>
            <pc:docMk/>
            <pc:sldMk cId="1504154189" sldId="272"/>
            <ac:picMk id="2" creationId="{1C40F161-CD5F-2D8A-E488-90F8D25191AF}"/>
          </ac:picMkLst>
        </pc:picChg>
        <pc:picChg chg="del">
          <ac:chgData name="Elise Posma" userId="S::e.posma@pznl.nl::0b5ac1b5-28cd-4814-9a1c-0820a8913ccf" providerId="AD" clId="Web-{0F5609D8-ED70-F97F-6DC3-186B68246540}" dt="2024-05-27T12:20:24.389" v="221"/>
          <ac:picMkLst>
            <pc:docMk/>
            <pc:sldMk cId="1504154189" sldId="272"/>
            <ac:picMk id="5" creationId="{7F42C67A-1AED-EB39-8FEB-881B47DD7669}"/>
          </ac:picMkLst>
        </pc:picChg>
      </pc:sldChg>
      <pc:sldChg chg="modSp">
        <pc:chgData name="Elise Posma" userId="S::e.posma@pznl.nl::0b5ac1b5-28cd-4814-9a1c-0820a8913ccf" providerId="AD" clId="Web-{0F5609D8-ED70-F97F-6DC3-186B68246540}" dt="2024-05-27T12:25:41.725" v="353" actId="20577"/>
        <pc:sldMkLst>
          <pc:docMk/>
          <pc:sldMk cId="1329402463" sldId="274"/>
        </pc:sldMkLst>
        <pc:spChg chg="mod">
          <ac:chgData name="Elise Posma" userId="S::e.posma@pznl.nl::0b5ac1b5-28cd-4814-9a1c-0820a8913ccf" providerId="AD" clId="Web-{0F5609D8-ED70-F97F-6DC3-186B68246540}" dt="2024-05-27T12:25:41.725" v="353" actId="20577"/>
          <ac:spMkLst>
            <pc:docMk/>
            <pc:sldMk cId="1329402463" sldId="274"/>
            <ac:spMk id="10" creationId="{0AFA99E9-A936-FEA0-C97B-FC32E5F1AB3D}"/>
          </ac:spMkLst>
        </pc:spChg>
      </pc:sldChg>
      <pc:sldChg chg="modNotes">
        <pc:chgData name="Elise Posma" userId="S::e.posma@pznl.nl::0b5ac1b5-28cd-4814-9a1c-0820a8913ccf" providerId="AD" clId="Web-{0F5609D8-ED70-F97F-6DC3-186B68246540}" dt="2024-05-27T12:03:14.609" v="9"/>
        <pc:sldMkLst>
          <pc:docMk/>
          <pc:sldMk cId="2310427119" sldId="276"/>
        </pc:sldMkLst>
      </pc:sldChg>
      <pc:sldChg chg="modSp modNotes">
        <pc:chgData name="Elise Posma" userId="S::e.posma@pznl.nl::0b5ac1b5-28cd-4814-9a1c-0820a8913ccf" providerId="AD" clId="Web-{0F5609D8-ED70-F97F-6DC3-186B68246540}" dt="2024-05-27T12:23:37.840" v="276" actId="20577"/>
        <pc:sldMkLst>
          <pc:docMk/>
          <pc:sldMk cId="78620943" sldId="277"/>
        </pc:sldMkLst>
        <pc:spChg chg="mod">
          <ac:chgData name="Elise Posma" userId="S::e.posma@pznl.nl::0b5ac1b5-28cd-4814-9a1c-0820a8913ccf" providerId="AD" clId="Web-{0F5609D8-ED70-F97F-6DC3-186B68246540}" dt="2024-05-27T12:23:37.840" v="276" actId="20577"/>
          <ac:spMkLst>
            <pc:docMk/>
            <pc:sldMk cId="78620943" sldId="277"/>
            <ac:spMk id="2" creationId="{F82BF295-56C7-8388-592E-9A77F8203A39}"/>
          </ac:spMkLst>
        </pc:spChg>
      </pc:sldChg>
      <pc:sldChg chg="modSp">
        <pc:chgData name="Elise Posma" userId="S::e.posma@pznl.nl::0b5ac1b5-28cd-4814-9a1c-0820a8913ccf" providerId="AD" clId="Web-{0F5609D8-ED70-F97F-6DC3-186B68246540}" dt="2024-05-27T12:25:50.444" v="354" actId="20577"/>
        <pc:sldMkLst>
          <pc:docMk/>
          <pc:sldMk cId="742450582" sldId="282"/>
        </pc:sldMkLst>
        <pc:spChg chg="mod">
          <ac:chgData name="Elise Posma" userId="S::e.posma@pznl.nl::0b5ac1b5-28cd-4814-9a1c-0820a8913ccf" providerId="AD" clId="Web-{0F5609D8-ED70-F97F-6DC3-186B68246540}" dt="2024-05-27T12:25:50.444" v="354" actId="20577"/>
          <ac:spMkLst>
            <pc:docMk/>
            <pc:sldMk cId="742450582" sldId="282"/>
            <ac:spMk id="10" creationId="{0AFA99E9-A936-FEA0-C97B-FC32E5F1AB3D}"/>
          </ac:spMkLst>
        </pc:spChg>
      </pc:sldChg>
      <pc:sldChg chg="modSp add replId modNotes">
        <pc:chgData name="Elise Posma" userId="S::e.posma@pznl.nl::0b5ac1b5-28cd-4814-9a1c-0820a8913ccf" providerId="AD" clId="Web-{0F5609D8-ED70-F97F-6DC3-186B68246540}" dt="2024-05-27T12:18:49.929" v="220" actId="20577"/>
        <pc:sldMkLst>
          <pc:docMk/>
          <pc:sldMk cId="1887405701" sldId="286"/>
        </pc:sldMkLst>
        <pc:spChg chg="mod">
          <ac:chgData name="Elise Posma" userId="S::e.posma@pznl.nl::0b5ac1b5-28cd-4814-9a1c-0820a8913ccf" providerId="AD" clId="Web-{0F5609D8-ED70-F97F-6DC3-186B68246540}" dt="2024-05-27T12:03:06.171" v="5" actId="20577"/>
          <ac:spMkLst>
            <pc:docMk/>
            <pc:sldMk cId="1887405701" sldId="286"/>
            <ac:spMk id="7" creationId="{0EDF6B68-DA54-2986-D44B-05022A2B0F2D}"/>
          </ac:spMkLst>
        </pc:spChg>
        <pc:spChg chg="mod">
          <ac:chgData name="Elise Posma" userId="S::e.posma@pznl.nl::0b5ac1b5-28cd-4814-9a1c-0820a8913ccf" providerId="AD" clId="Web-{0F5609D8-ED70-F97F-6DC3-186B68246540}" dt="2024-05-27T12:18:49.929" v="220" actId="20577"/>
          <ac:spMkLst>
            <pc:docMk/>
            <pc:sldMk cId="1887405701" sldId="286"/>
            <ac:spMk id="10" creationId="{0AFA99E9-A936-FEA0-C97B-FC32E5F1AB3D}"/>
          </ac:spMkLst>
        </pc:spChg>
      </pc:sldChg>
    </pc:docChg>
  </pc:docChgLst>
  <pc:docChgLst>
    <pc:chgData name="Famke van Heeckeren tot Overlaer" userId="S::f.vanheeckeren@pznl.nl::96838a5c-d711-4189-832c-a15883880c52" providerId="AD" clId="Web-{9AE1329C-B327-2872-EA4F-2D8DB3332DC7}"/>
    <pc:docChg chg="delSld modSld">
      <pc:chgData name="Famke van Heeckeren tot Overlaer" userId="S::f.vanheeckeren@pznl.nl::96838a5c-d711-4189-832c-a15883880c52" providerId="AD" clId="Web-{9AE1329C-B327-2872-EA4F-2D8DB3332DC7}" dt="2024-01-08T13:32:08.877" v="64" actId="20577"/>
      <pc:docMkLst>
        <pc:docMk/>
      </pc:docMkLst>
      <pc:sldChg chg="modSp">
        <pc:chgData name="Famke van Heeckeren tot Overlaer" userId="S::f.vanheeckeren@pznl.nl::96838a5c-d711-4189-832c-a15883880c52" providerId="AD" clId="Web-{9AE1329C-B327-2872-EA4F-2D8DB3332DC7}" dt="2024-01-08T13:32:08.877" v="64" actId="20577"/>
        <pc:sldMkLst>
          <pc:docMk/>
          <pc:sldMk cId="259076094" sldId="256"/>
        </pc:sldMkLst>
        <pc:spChg chg="mod">
          <ac:chgData name="Famke van Heeckeren tot Overlaer" userId="S::f.vanheeckeren@pznl.nl::96838a5c-d711-4189-832c-a15883880c52" providerId="AD" clId="Web-{9AE1329C-B327-2872-EA4F-2D8DB3332DC7}" dt="2024-01-08T13:32:08.877" v="64" actId="20577"/>
          <ac:spMkLst>
            <pc:docMk/>
            <pc:sldMk cId="259076094" sldId="256"/>
            <ac:spMk id="5" creationId="{D62B4F7F-712E-0A98-867A-DC0B84CA9757}"/>
          </ac:spMkLst>
        </pc:spChg>
        <pc:spChg chg="mod">
          <ac:chgData name="Famke van Heeckeren tot Overlaer" userId="S::f.vanheeckeren@pznl.nl::96838a5c-d711-4189-832c-a15883880c52" providerId="AD" clId="Web-{9AE1329C-B327-2872-EA4F-2D8DB3332DC7}" dt="2024-01-08T13:30:27.702" v="40" actId="20577"/>
          <ac:spMkLst>
            <pc:docMk/>
            <pc:sldMk cId="259076094" sldId="256"/>
            <ac:spMk id="10" creationId="{60674255-069B-C1A1-4152-C539CBBB6B37}"/>
          </ac:spMkLst>
        </pc:spChg>
        <pc:spChg chg="mod">
          <ac:chgData name="Famke van Heeckeren tot Overlaer" userId="S::f.vanheeckeren@pznl.nl::96838a5c-d711-4189-832c-a15883880c52" providerId="AD" clId="Web-{9AE1329C-B327-2872-EA4F-2D8DB3332DC7}" dt="2024-01-08T13:30:46.828" v="47" actId="20577"/>
          <ac:spMkLst>
            <pc:docMk/>
            <pc:sldMk cId="259076094" sldId="256"/>
            <ac:spMk id="11" creationId="{353125B2-72A9-B223-260D-25D0D4D8A4F2}"/>
          </ac:spMkLst>
        </pc:spChg>
      </pc:sldChg>
      <pc:sldChg chg="del">
        <pc:chgData name="Famke van Heeckeren tot Overlaer" userId="S::f.vanheeckeren@pznl.nl::96838a5c-d711-4189-832c-a15883880c52" providerId="AD" clId="Web-{9AE1329C-B327-2872-EA4F-2D8DB3332DC7}" dt="2024-01-08T13:31:17.469" v="48"/>
        <pc:sldMkLst>
          <pc:docMk/>
          <pc:sldMk cId="2636941410" sldId="260"/>
        </pc:sldMkLst>
      </pc:sldChg>
      <pc:sldChg chg="del">
        <pc:chgData name="Famke van Heeckeren tot Overlaer" userId="S::f.vanheeckeren@pznl.nl::96838a5c-d711-4189-832c-a15883880c52" providerId="AD" clId="Web-{9AE1329C-B327-2872-EA4F-2D8DB3332DC7}" dt="2024-01-08T13:29:47.607" v="0"/>
        <pc:sldMkLst>
          <pc:docMk/>
          <pc:sldMk cId="834247760" sldId="282"/>
        </pc:sldMkLst>
      </pc:sldChg>
      <pc:sldChg chg="del">
        <pc:chgData name="Famke van Heeckeren tot Overlaer" userId="S::f.vanheeckeren@pznl.nl::96838a5c-d711-4189-832c-a15883880c52" providerId="AD" clId="Web-{9AE1329C-B327-2872-EA4F-2D8DB3332DC7}" dt="2024-01-08T13:29:49.545" v="1"/>
        <pc:sldMkLst>
          <pc:docMk/>
          <pc:sldMk cId="4212094504" sldId="283"/>
        </pc:sldMkLst>
      </pc:sldChg>
    </pc:docChg>
  </pc:docChgLst>
  <pc:docChgLst>
    <pc:chgData name="Elise Posma" userId="S::e.posma@pznl.nl::0b5ac1b5-28cd-4814-9a1c-0820a8913ccf" providerId="AD" clId="Web-{6C29A8AD-7068-C4FE-976B-2B1E0C006BF5}"/>
    <pc:docChg chg="modSld">
      <pc:chgData name="Elise Posma" userId="S::e.posma@pznl.nl::0b5ac1b5-28cd-4814-9a1c-0820a8913ccf" providerId="AD" clId="Web-{6C29A8AD-7068-C4FE-976B-2B1E0C006BF5}" dt="2024-10-23T08:18:44.843" v="2" actId="20577"/>
      <pc:docMkLst>
        <pc:docMk/>
      </pc:docMkLst>
      <pc:sldChg chg="modSp">
        <pc:chgData name="Elise Posma" userId="S::e.posma@pznl.nl::0b5ac1b5-28cd-4814-9a1c-0820a8913ccf" providerId="AD" clId="Web-{6C29A8AD-7068-C4FE-976B-2B1E0C006BF5}" dt="2024-10-23T08:18:44.843" v="2" actId="20577"/>
        <pc:sldMkLst>
          <pc:docMk/>
          <pc:sldMk cId="3113140432" sldId="293"/>
        </pc:sldMkLst>
        <pc:spChg chg="mod">
          <ac:chgData name="Elise Posma" userId="S::e.posma@pznl.nl::0b5ac1b5-28cd-4814-9a1c-0820a8913ccf" providerId="AD" clId="Web-{6C29A8AD-7068-C4FE-976B-2B1E0C006BF5}" dt="2024-10-23T08:18:44.843" v="2" actId="20577"/>
          <ac:spMkLst>
            <pc:docMk/>
            <pc:sldMk cId="3113140432" sldId="293"/>
            <ac:spMk id="10" creationId="{0AFA99E9-A936-FEA0-C97B-FC32E5F1AB3D}"/>
          </ac:spMkLst>
        </pc:spChg>
      </pc:sldChg>
    </pc:docChg>
  </pc:docChgLst>
  <pc:docChgLst>
    <pc:chgData name="Elise Posma" userId="S::e.posma@pznl.nl::0b5ac1b5-28cd-4814-9a1c-0820a8913ccf" providerId="AD" clId="Web-{57E0F7AF-9C21-C656-77FF-8999AFC753D3}"/>
    <pc:docChg chg="modSld">
      <pc:chgData name="Elise Posma" userId="S::e.posma@pznl.nl::0b5ac1b5-28cd-4814-9a1c-0820a8913ccf" providerId="AD" clId="Web-{57E0F7AF-9C21-C656-77FF-8999AFC753D3}" dt="2024-10-09T12:39:38.265" v="32"/>
      <pc:docMkLst>
        <pc:docMk/>
      </pc:docMkLst>
      <pc:sldChg chg="modNotes">
        <pc:chgData name="Elise Posma" userId="S::e.posma@pznl.nl::0b5ac1b5-28cd-4814-9a1c-0820a8913ccf" providerId="AD" clId="Web-{57E0F7AF-9C21-C656-77FF-8999AFC753D3}" dt="2024-10-09T12:35:22.084" v="1"/>
        <pc:sldMkLst>
          <pc:docMk/>
          <pc:sldMk cId="139439553" sldId="271"/>
        </pc:sldMkLst>
      </pc:sldChg>
      <pc:sldChg chg="modNotes">
        <pc:chgData name="Elise Posma" userId="S::e.posma@pznl.nl::0b5ac1b5-28cd-4814-9a1c-0820a8913ccf" providerId="AD" clId="Web-{57E0F7AF-9C21-C656-77FF-8999AFC753D3}" dt="2024-10-09T12:39:38.265" v="32"/>
        <pc:sldMkLst>
          <pc:docMk/>
          <pc:sldMk cId="4242541050" sldId="284"/>
        </pc:sldMkLst>
      </pc:sldChg>
    </pc:docChg>
  </pc:docChgLst>
  <pc:docChgLst>
    <pc:chgData name="Ank Louwes" userId="S::a.louwes@pznl.nl::afde4120-2980-4fd3-9aab-23d0ef32f51f" providerId="AD" clId="Web-{FB2BE56F-0FBF-3F9C-1B5E-1229C4123A5F}"/>
    <pc:docChg chg="modSld">
      <pc:chgData name="Ank Louwes" userId="S::a.louwes@pznl.nl::afde4120-2980-4fd3-9aab-23d0ef32f51f" providerId="AD" clId="Web-{FB2BE56F-0FBF-3F9C-1B5E-1229C4123A5F}" dt="2024-10-15T14:40:13.095" v="9" actId="20577"/>
      <pc:docMkLst>
        <pc:docMk/>
      </pc:docMkLst>
      <pc:sldChg chg="modSp">
        <pc:chgData name="Ank Louwes" userId="S::a.louwes@pznl.nl::afde4120-2980-4fd3-9aab-23d0ef32f51f" providerId="AD" clId="Web-{FB2BE56F-0FBF-3F9C-1B5E-1229C4123A5F}" dt="2024-10-15T14:33:09.737" v="2" actId="20577"/>
        <pc:sldMkLst>
          <pc:docMk/>
          <pc:sldMk cId="556879563" sldId="278"/>
        </pc:sldMkLst>
        <pc:spChg chg="mod">
          <ac:chgData name="Ank Louwes" userId="S::a.louwes@pznl.nl::afde4120-2980-4fd3-9aab-23d0ef32f51f" providerId="AD" clId="Web-{FB2BE56F-0FBF-3F9C-1B5E-1229C4123A5F}" dt="2024-10-15T14:33:09.737" v="2" actId="20577"/>
          <ac:spMkLst>
            <pc:docMk/>
            <pc:sldMk cId="556879563" sldId="278"/>
            <ac:spMk id="3" creationId="{415CF7FC-3BC3-7FA5-6ACE-F1152CEC6B30}"/>
          </ac:spMkLst>
        </pc:spChg>
      </pc:sldChg>
      <pc:sldChg chg="modSp">
        <pc:chgData name="Ank Louwes" userId="S::a.louwes@pznl.nl::afde4120-2980-4fd3-9aab-23d0ef32f51f" providerId="AD" clId="Web-{FB2BE56F-0FBF-3F9C-1B5E-1229C4123A5F}" dt="2024-10-15T14:40:13.095" v="9" actId="20577"/>
        <pc:sldMkLst>
          <pc:docMk/>
          <pc:sldMk cId="1887405701" sldId="286"/>
        </pc:sldMkLst>
        <pc:spChg chg="mod">
          <ac:chgData name="Ank Louwes" userId="S::a.louwes@pznl.nl::afde4120-2980-4fd3-9aab-23d0ef32f51f" providerId="AD" clId="Web-{FB2BE56F-0FBF-3F9C-1B5E-1229C4123A5F}" dt="2024-10-15T14:40:13.095" v="9" actId="20577"/>
          <ac:spMkLst>
            <pc:docMk/>
            <pc:sldMk cId="1887405701" sldId="286"/>
            <ac:spMk id="10" creationId="{0AFA99E9-A936-FEA0-C97B-FC32E5F1AB3D}"/>
          </ac:spMkLst>
        </pc:spChg>
      </pc:sldChg>
    </pc:docChg>
  </pc:docChgLst>
  <pc:docChgLst>
    <pc:chgData name="Elise Posma" userId="S::e.posma@pznl.nl::0b5ac1b5-28cd-4814-9a1c-0820a8913ccf" providerId="AD" clId="Web-{E605CF29-B8DD-2C46-D555-F24E4D364BCF}"/>
    <pc:docChg chg="modSld">
      <pc:chgData name="Elise Posma" userId="S::e.posma@pznl.nl::0b5ac1b5-28cd-4814-9a1c-0820a8913ccf" providerId="AD" clId="Web-{E605CF29-B8DD-2C46-D555-F24E4D364BCF}" dt="2024-03-12T14:11:44.340" v="4" actId="20577"/>
      <pc:docMkLst>
        <pc:docMk/>
      </pc:docMkLst>
      <pc:sldChg chg="modSp">
        <pc:chgData name="Elise Posma" userId="S::e.posma@pznl.nl::0b5ac1b5-28cd-4814-9a1c-0820a8913ccf" providerId="AD" clId="Web-{E605CF29-B8DD-2C46-D555-F24E4D364BCF}" dt="2024-03-12T14:11:44.340" v="4" actId="20577"/>
        <pc:sldMkLst>
          <pc:docMk/>
          <pc:sldMk cId="78620943" sldId="277"/>
        </pc:sldMkLst>
        <pc:spChg chg="mod">
          <ac:chgData name="Elise Posma" userId="S::e.posma@pznl.nl::0b5ac1b5-28cd-4814-9a1c-0820a8913ccf" providerId="AD" clId="Web-{E605CF29-B8DD-2C46-D555-F24E4D364BCF}" dt="2024-03-12T14:11:44.340" v="4" actId="20577"/>
          <ac:spMkLst>
            <pc:docMk/>
            <pc:sldMk cId="78620943" sldId="277"/>
            <ac:spMk id="3" creationId="{415CF7FC-3BC3-7FA5-6ACE-F1152CEC6B30}"/>
          </ac:spMkLst>
        </pc:spChg>
      </pc:sldChg>
    </pc:docChg>
  </pc:docChgLst>
  <pc:docChgLst>
    <pc:chgData name="Famke van Heeckeren tot Overlaer" userId="96838a5c-d711-4189-832c-a15883880c52" providerId="ADAL" clId="{1FFD0137-F724-448D-AED0-883DF51FFF44}"/>
    <pc:docChg chg="undo redo custSel modSld">
      <pc:chgData name="Famke van Heeckeren tot Overlaer" userId="96838a5c-d711-4189-832c-a15883880c52" providerId="ADAL" clId="{1FFD0137-F724-448D-AED0-883DF51FFF44}" dt="2024-09-27T10:48:54.083" v="135" actId="6549"/>
      <pc:docMkLst>
        <pc:docMk/>
      </pc:docMkLst>
      <pc:sldChg chg="addSp delSp modSp mod modClrScheme chgLayout">
        <pc:chgData name="Famke van Heeckeren tot Overlaer" userId="96838a5c-d711-4189-832c-a15883880c52" providerId="ADAL" clId="{1FFD0137-F724-448D-AED0-883DF51FFF44}" dt="2024-09-27T10:32:30.555" v="77" actId="14100"/>
        <pc:sldMkLst>
          <pc:docMk/>
          <pc:sldMk cId="259076094" sldId="256"/>
        </pc:sldMkLst>
        <pc:spChg chg="mod ord">
          <ac:chgData name="Famke van Heeckeren tot Overlaer" userId="96838a5c-d711-4189-832c-a15883880c52" providerId="ADAL" clId="{1FFD0137-F724-448D-AED0-883DF51FFF44}" dt="2024-09-27T10:28:15.699" v="47" actId="26606"/>
          <ac:spMkLst>
            <pc:docMk/>
            <pc:sldMk cId="259076094" sldId="256"/>
            <ac:spMk id="6" creationId="{97D0DC2A-2430-1B9A-67E0-D5CDDB1D88CF}"/>
          </ac:spMkLst>
        </pc:spChg>
        <pc:spChg chg="mod">
          <ac:chgData name="Famke van Heeckeren tot Overlaer" userId="96838a5c-d711-4189-832c-a15883880c52" providerId="ADAL" clId="{1FFD0137-F724-448D-AED0-883DF51FFF44}" dt="2024-09-27T10:32:30.555" v="77" actId="14100"/>
          <ac:spMkLst>
            <pc:docMk/>
            <pc:sldMk cId="259076094" sldId="256"/>
            <ac:spMk id="10" creationId="{60674255-069B-C1A1-4152-C539CBBB6B37}"/>
          </ac:spMkLst>
        </pc:spChg>
        <pc:spChg chg="add del">
          <ac:chgData name="Famke van Heeckeren tot Overlaer" userId="96838a5c-d711-4189-832c-a15883880c52" providerId="ADAL" clId="{1FFD0137-F724-448D-AED0-883DF51FFF44}" dt="2024-09-27T10:29:03.045" v="53" actId="478"/>
          <ac:spMkLst>
            <pc:docMk/>
            <pc:sldMk cId="259076094" sldId="256"/>
            <ac:spMk id="11" creationId="{353125B2-72A9-B223-260D-25D0D4D8A4F2}"/>
          </ac:spMkLst>
        </pc:spChg>
        <pc:spChg chg="add del mod">
          <ac:chgData name="Famke van Heeckeren tot Overlaer" userId="96838a5c-d711-4189-832c-a15883880c52" providerId="ADAL" clId="{1FFD0137-F724-448D-AED0-883DF51FFF44}" dt="2024-09-27T10:28:15.699" v="47" actId="26606"/>
          <ac:spMkLst>
            <pc:docMk/>
            <pc:sldMk cId="259076094" sldId="256"/>
            <ac:spMk id="16" creationId="{588E20D2-07D1-DEF0-91EE-E068E52B0924}"/>
          </ac:spMkLst>
        </pc:spChg>
        <pc:picChg chg="add del mod">
          <ac:chgData name="Famke van Heeckeren tot Overlaer" userId="96838a5c-d711-4189-832c-a15883880c52" providerId="ADAL" clId="{1FFD0137-F724-448D-AED0-883DF51FFF44}" dt="2024-09-27T10:28:05.701" v="43" actId="478"/>
          <ac:picMkLst>
            <pc:docMk/>
            <pc:sldMk cId="259076094" sldId="256"/>
            <ac:picMk id="3" creationId="{6BB228DE-8EF9-C439-B30F-0B83CBC08822}"/>
          </ac:picMkLst>
        </pc:picChg>
        <pc:picChg chg="add mod">
          <ac:chgData name="Famke van Heeckeren tot Overlaer" userId="96838a5c-d711-4189-832c-a15883880c52" providerId="ADAL" clId="{1FFD0137-F724-448D-AED0-883DF51FFF44}" dt="2024-09-27T10:31:04.217" v="76" actId="1076"/>
          <ac:picMkLst>
            <pc:docMk/>
            <pc:sldMk cId="259076094" sldId="256"/>
            <ac:picMk id="5" creationId="{6F353614-6066-17EC-C979-9D94E9B2621B}"/>
          </ac:picMkLst>
        </pc:picChg>
      </pc:sldChg>
      <pc:sldChg chg="modSp mod modNotesTx">
        <pc:chgData name="Famke van Heeckeren tot Overlaer" userId="96838a5c-d711-4189-832c-a15883880c52" providerId="ADAL" clId="{1FFD0137-F724-448D-AED0-883DF51FFF44}" dt="2024-09-27T10:47:57.900" v="134" actId="20577"/>
        <pc:sldMkLst>
          <pc:docMk/>
          <pc:sldMk cId="409741479" sldId="268"/>
        </pc:sldMkLst>
        <pc:spChg chg="mod">
          <ac:chgData name="Famke van Heeckeren tot Overlaer" userId="96838a5c-d711-4189-832c-a15883880c52" providerId="ADAL" clId="{1FFD0137-F724-448D-AED0-883DF51FFF44}" dt="2024-09-27T10:46:31.429" v="81" actId="20577"/>
          <ac:spMkLst>
            <pc:docMk/>
            <pc:sldMk cId="409741479" sldId="268"/>
            <ac:spMk id="12" creationId="{3F5A8134-E7D5-CE49-8A49-368D6389E008}"/>
          </ac:spMkLst>
        </pc:spChg>
      </pc:sldChg>
      <pc:sldChg chg="modSp mod">
        <pc:chgData name="Famke van Heeckeren tot Overlaer" userId="96838a5c-d711-4189-832c-a15883880c52" providerId="ADAL" clId="{1FFD0137-F724-448D-AED0-883DF51FFF44}" dt="2024-09-27T10:23:28.874" v="36" actId="1076"/>
        <pc:sldMkLst>
          <pc:docMk/>
          <pc:sldMk cId="3307292787" sldId="269"/>
        </pc:sldMkLst>
        <pc:spChg chg="mod">
          <ac:chgData name="Famke van Heeckeren tot Overlaer" userId="96838a5c-d711-4189-832c-a15883880c52" providerId="ADAL" clId="{1FFD0137-F724-448D-AED0-883DF51FFF44}" dt="2024-09-27T10:23:23.702" v="35" actId="20577"/>
          <ac:spMkLst>
            <pc:docMk/>
            <pc:sldMk cId="3307292787" sldId="269"/>
            <ac:spMk id="8" creationId="{6189840A-674E-1182-65C7-A7C014F02347}"/>
          </ac:spMkLst>
        </pc:spChg>
        <pc:picChg chg="mod">
          <ac:chgData name="Famke van Heeckeren tot Overlaer" userId="96838a5c-d711-4189-832c-a15883880c52" providerId="ADAL" clId="{1FFD0137-F724-448D-AED0-883DF51FFF44}" dt="2024-09-27T10:23:28.874" v="36" actId="1076"/>
          <ac:picMkLst>
            <pc:docMk/>
            <pc:sldMk cId="3307292787" sldId="269"/>
            <ac:picMk id="2" creationId="{872F1797-1EDE-3D71-9A1B-EBF2C363D9CC}"/>
          </ac:picMkLst>
        </pc:picChg>
      </pc:sldChg>
      <pc:sldChg chg="modSp mod modNotesTx">
        <pc:chgData name="Famke van Heeckeren tot Overlaer" userId="96838a5c-d711-4189-832c-a15883880c52" providerId="ADAL" clId="{1FFD0137-F724-448D-AED0-883DF51FFF44}" dt="2024-09-27T10:47:35.741" v="113" actId="6549"/>
        <pc:sldMkLst>
          <pc:docMk/>
          <pc:sldMk cId="3477824738" sldId="279"/>
        </pc:sldMkLst>
        <pc:spChg chg="mod">
          <ac:chgData name="Famke van Heeckeren tot Overlaer" userId="96838a5c-d711-4189-832c-a15883880c52" providerId="ADAL" clId="{1FFD0137-F724-448D-AED0-883DF51FFF44}" dt="2024-09-27T10:47:23.963" v="110" actId="20577"/>
          <ac:spMkLst>
            <pc:docMk/>
            <pc:sldMk cId="3477824738" sldId="279"/>
            <ac:spMk id="2" creationId="{6C6A25EE-B167-7BC7-D389-7C3601565AEE}"/>
          </ac:spMkLst>
        </pc:spChg>
        <pc:spChg chg="mod">
          <ac:chgData name="Famke van Heeckeren tot Overlaer" userId="96838a5c-d711-4189-832c-a15883880c52" providerId="ADAL" clId="{1FFD0137-F724-448D-AED0-883DF51FFF44}" dt="2024-09-27T10:47:05.167" v="96" actId="20577"/>
          <ac:spMkLst>
            <pc:docMk/>
            <pc:sldMk cId="3477824738" sldId="279"/>
            <ac:spMk id="7" creationId="{0EDF6B68-DA54-2986-D44B-05022A2B0F2D}"/>
          </ac:spMkLst>
        </pc:spChg>
      </pc:sldChg>
      <pc:sldChg chg="modNotesTx">
        <pc:chgData name="Famke van Heeckeren tot Overlaer" userId="96838a5c-d711-4189-832c-a15883880c52" providerId="ADAL" clId="{1FFD0137-F724-448D-AED0-883DF51FFF44}" dt="2024-09-27T10:48:54.083" v="135" actId="6549"/>
        <pc:sldMkLst>
          <pc:docMk/>
          <pc:sldMk cId="1126675768" sldId="280"/>
        </pc:sldMkLst>
      </pc:sldChg>
    </pc:docChg>
  </pc:docChgLst>
  <pc:docChgLst>
    <pc:chgData name="Elise Posma" userId="S::e.posma@pznl.nl::0b5ac1b5-28cd-4814-9a1c-0820a8913ccf" providerId="AD" clId="Web-{3C1637A5-7454-AB19-E61E-F10773DF378E}"/>
    <pc:docChg chg="modSld">
      <pc:chgData name="Elise Posma" userId="S::e.posma@pznl.nl::0b5ac1b5-28cd-4814-9a1c-0820a8913ccf" providerId="AD" clId="Web-{3C1637A5-7454-AB19-E61E-F10773DF378E}" dt="2024-10-09T12:57:41.853" v="10"/>
      <pc:docMkLst>
        <pc:docMk/>
      </pc:docMkLst>
      <pc:sldChg chg="modNotes">
        <pc:chgData name="Elise Posma" userId="S::e.posma@pznl.nl::0b5ac1b5-28cd-4814-9a1c-0820a8913ccf" providerId="AD" clId="Web-{3C1637A5-7454-AB19-E61E-F10773DF378E}" dt="2024-10-09T12:57:41.853" v="10"/>
        <pc:sldMkLst>
          <pc:docMk/>
          <pc:sldMk cId="742450582" sldId="282"/>
        </pc:sldMkLst>
      </pc:sldChg>
    </pc:docChg>
  </pc:docChgLst>
  <pc:docChgLst>
    <pc:chgData name="Elise Posma" userId="S::e.posma@pznl.nl::0b5ac1b5-28cd-4814-9a1c-0820a8913ccf" providerId="AD" clId="Web-{71069809-1A04-BBD4-7BC9-494E178848B1}"/>
    <pc:docChg chg="modSld">
      <pc:chgData name="Elise Posma" userId="S::e.posma@pznl.nl::0b5ac1b5-28cd-4814-9a1c-0820a8913ccf" providerId="AD" clId="Web-{71069809-1A04-BBD4-7BC9-494E178848B1}" dt="2024-12-02T14:41:19.247" v="0" actId="1076"/>
      <pc:docMkLst>
        <pc:docMk/>
      </pc:docMkLst>
      <pc:sldChg chg="modSp">
        <pc:chgData name="Elise Posma" userId="S::e.posma@pznl.nl::0b5ac1b5-28cd-4814-9a1c-0820a8913ccf" providerId="AD" clId="Web-{71069809-1A04-BBD4-7BC9-494E178848B1}" dt="2024-12-02T14:41:19.247" v="0" actId="1076"/>
        <pc:sldMkLst>
          <pc:docMk/>
          <pc:sldMk cId="3113140432" sldId="293"/>
        </pc:sldMkLst>
        <pc:picChg chg="mod">
          <ac:chgData name="Elise Posma" userId="S::e.posma@pznl.nl::0b5ac1b5-28cd-4814-9a1c-0820a8913ccf" providerId="AD" clId="Web-{71069809-1A04-BBD4-7BC9-494E178848B1}" dt="2024-12-02T14:41:19.247" v="0" actId="1076"/>
          <ac:picMkLst>
            <pc:docMk/>
            <pc:sldMk cId="3113140432" sldId="293"/>
            <ac:picMk id="3" creationId="{24A98D80-5B85-1F7E-781E-B5797C407DFB}"/>
          </ac:picMkLst>
        </pc:picChg>
      </pc:sldChg>
    </pc:docChg>
  </pc:docChgLst>
  <pc:docChgLst>
    <pc:chgData name="Elise Posma" userId="S::e.posma@pznl.nl::0b5ac1b5-28cd-4814-9a1c-0820a8913ccf" providerId="AD" clId="Web-{0BCDD512-9098-6DCD-1FC7-F3D668B9DC14}"/>
    <pc:docChg chg="modSld">
      <pc:chgData name="Elise Posma" userId="S::e.posma@pznl.nl::0b5ac1b5-28cd-4814-9a1c-0820a8913ccf" providerId="AD" clId="Web-{0BCDD512-9098-6DCD-1FC7-F3D668B9DC14}" dt="2024-12-02T14:54:47.389" v="16" actId="1076"/>
      <pc:docMkLst>
        <pc:docMk/>
      </pc:docMkLst>
      <pc:sldChg chg="addSp delSp modSp">
        <pc:chgData name="Elise Posma" userId="S::e.posma@pznl.nl::0b5ac1b5-28cd-4814-9a1c-0820a8913ccf" providerId="AD" clId="Web-{0BCDD512-9098-6DCD-1FC7-F3D668B9DC14}" dt="2024-12-02T14:54:47.389" v="16" actId="1076"/>
        <pc:sldMkLst>
          <pc:docMk/>
          <pc:sldMk cId="3113140432" sldId="293"/>
        </pc:sldMkLst>
        <pc:picChg chg="add mod">
          <ac:chgData name="Elise Posma" userId="S::e.posma@pznl.nl::0b5ac1b5-28cd-4814-9a1c-0820a8913ccf" providerId="AD" clId="Web-{0BCDD512-9098-6DCD-1FC7-F3D668B9DC14}" dt="2024-12-02T14:54:47.389" v="16" actId="1076"/>
          <ac:picMkLst>
            <pc:docMk/>
            <pc:sldMk cId="3113140432" sldId="293"/>
            <ac:picMk id="2" creationId="{4E2CE384-523A-237E-3583-0107EDB0AAF1}"/>
          </ac:picMkLst>
        </pc:picChg>
        <pc:picChg chg="add del">
          <ac:chgData name="Elise Posma" userId="S::e.posma@pznl.nl::0b5ac1b5-28cd-4814-9a1c-0820a8913ccf" providerId="AD" clId="Web-{0BCDD512-9098-6DCD-1FC7-F3D668B9DC14}" dt="2024-12-02T14:54:38.842" v="13"/>
          <ac:picMkLst>
            <pc:docMk/>
            <pc:sldMk cId="3113140432" sldId="293"/>
            <ac:picMk id="3" creationId="{24A98D80-5B85-1F7E-781E-B5797C407DFB}"/>
          </ac:picMkLst>
        </pc:picChg>
      </pc:sldChg>
    </pc:docChg>
  </pc:docChgLst>
  <pc:docChgLst>
    <pc:chgData name="Elise Posma" userId="S::e.posma@pznl.nl::0b5ac1b5-28cd-4814-9a1c-0820a8913ccf" providerId="AD" clId="Web-{F8451290-FC2B-3A5B-1704-0605EC84082B}"/>
    <pc:docChg chg="modSld">
      <pc:chgData name="Elise Posma" userId="S::e.posma@pznl.nl::0b5ac1b5-28cd-4814-9a1c-0820a8913ccf" providerId="AD" clId="Web-{F8451290-FC2B-3A5B-1704-0605EC84082B}" dt="2024-06-18T11:23:35.457" v="32" actId="20577"/>
      <pc:docMkLst>
        <pc:docMk/>
      </pc:docMkLst>
      <pc:sldChg chg="modSp">
        <pc:chgData name="Elise Posma" userId="S::e.posma@pznl.nl::0b5ac1b5-28cd-4814-9a1c-0820a8913ccf" providerId="AD" clId="Web-{F8451290-FC2B-3A5B-1704-0605EC84082B}" dt="2024-06-18T11:23:35.457" v="32" actId="20577"/>
        <pc:sldMkLst>
          <pc:docMk/>
          <pc:sldMk cId="1887405701" sldId="286"/>
        </pc:sldMkLst>
        <pc:spChg chg="mod">
          <ac:chgData name="Elise Posma" userId="S::e.posma@pznl.nl::0b5ac1b5-28cd-4814-9a1c-0820a8913ccf" providerId="AD" clId="Web-{F8451290-FC2B-3A5B-1704-0605EC84082B}" dt="2024-06-18T11:23:35.457" v="32" actId="20577"/>
          <ac:spMkLst>
            <pc:docMk/>
            <pc:sldMk cId="1887405701" sldId="286"/>
            <ac:spMk id="10" creationId="{0AFA99E9-A936-FEA0-C97B-FC32E5F1AB3D}"/>
          </ac:spMkLst>
        </pc:spChg>
      </pc:sldChg>
    </pc:docChg>
  </pc:docChgLst>
  <pc:docChgLst>
    <pc:chgData name="Famke van Heeckeren tot Overlaer" userId="S::f.vanheeckeren@pznl.nl::96838a5c-d711-4189-832c-a15883880c52" providerId="AD" clId="Web-{02703EA9-0660-6622-0DD3-3CE2D800A8BA}"/>
    <pc:docChg chg="delSld modSld">
      <pc:chgData name="Famke van Heeckeren tot Overlaer" userId="S::f.vanheeckeren@pznl.nl::96838a5c-d711-4189-832c-a15883880c52" providerId="AD" clId="Web-{02703EA9-0660-6622-0DD3-3CE2D800A8BA}" dt="2024-01-22T11:12:26.037" v="1367"/>
      <pc:docMkLst>
        <pc:docMk/>
      </pc:docMkLst>
      <pc:sldChg chg="modNotes">
        <pc:chgData name="Famke van Heeckeren tot Overlaer" userId="S::f.vanheeckeren@pznl.nl::96838a5c-d711-4189-832c-a15883880c52" providerId="AD" clId="Web-{02703EA9-0660-6622-0DD3-3CE2D800A8BA}" dt="2024-01-22T10:45:55.944" v="28"/>
        <pc:sldMkLst>
          <pc:docMk/>
          <pc:sldMk cId="259076094" sldId="256"/>
        </pc:sldMkLst>
      </pc:sldChg>
      <pc:sldChg chg="modSp modNotes">
        <pc:chgData name="Famke van Heeckeren tot Overlaer" userId="S::f.vanheeckeren@pznl.nl::96838a5c-d711-4189-832c-a15883880c52" providerId="AD" clId="Web-{02703EA9-0660-6622-0DD3-3CE2D800A8BA}" dt="2024-01-22T10:54:33.589" v="411"/>
        <pc:sldMkLst>
          <pc:docMk/>
          <pc:sldMk cId="2979246287" sldId="258"/>
        </pc:sldMkLst>
        <pc:spChg chg="mod">
          <ac:chgData name="Famke van Heeckeren tot Overlaer" userId="S::f.vanheeckeren@pznl.nl::96838a5c-d711-4189-832c-a15883880c52" providerId="AD" clId="Web-{02703EA9-0660-6622-0DD3-3CE2D800A8BA}" dt="2024-01-22T10:52:05.505" v="151" actId="20577"/>
          <ac:spMkLst>
            <pc:docMk/>
            <pc:sldMk cId="2979246287" sldId="258"/>
            <ac:spMk id="8" creationId="{6189840A-674E-1182-65C7-A7C014F02347}"/>
          </ac:spMkLst>
        </pc:spChg>
      </pc:sldChg>
      <pc:sldChg chg="modNotes">
        <pc:chgData name="Famke van Heeckeren tot Overlaer" userId="S::f.vanheeckeren@pznl.nl::96838a5c-d711-4189-832c-a15883880c52" providerId="AD" clId="Web-{02703EA9-0660-6622-0DD3-3CE2D800A8BA}" dt="2024-01-22T10:50:36.923" v="136"/>
        <pc:sldMkLst>
          <pc:docMk/>
          <pc:sldMk cId="2326729184" sldId="267"/>
        </pc:sldMkLst>
      </pc:sldChg>
      <pc:sldChg chg="modNotes">
        <pc:chgData name="Famke van Heeckeren tot Overlaer" userId="S::f.vanheeckeren@pznl.nl::96838a5c-d711-4189-832c-a15883880c52" providerId="AD" clId="Web-{02703EA9-0660-6622-0DD3-3CE2D800A8BA}" dt="2024-01-22T10:56:39.594" v="640"/>
        <pc:sldMkLst>
          <pc:docMk/>
          <pc:sldMk cId="409741479" sldId="268"/>
        </pc:sldMkLst>
      </pc:sldChg>
      <pc:sldChg chg="modSp">
        <pc:chgData name="Famke van Heeckeren tot Overlaer" userId="S::f.vanheeckeren@pznl.nl::96838a5c-d711-4189-832c-a15883880c52" providerId="AD" clId="Web-{02703EA9-0660-6622-0DD3-3CE2D800A8BA}" dt="2024-01-22T10:44:48.785" v="1" actId="20577"/>
        <pc:sldMkLst>
          <pc:docMk/>
          <pc:sldMk cId="3307292787" sldId="269"/>
        </pc:sldMkLst>
        <pc:spChg chg="mod">
          <ac:chgData name="Famke van Heeckeren tot Overlaer" userId="S::f.vanheeckeren@pznl.nl::96838a5c-d711-4189-832c-a15883880c52" providerId="AD" clId="Web-{02703EA9-0660-6622-0DD3-3CE2D800A8BA}" dt="2024-01-22T10:44:48.785" v="1" actId="20577"/>
          <ac:spMkLst>
            <pc:docMk/>
            <pc:sldMk cId="3307292787" sldId="269"/>
            <ac:spMk id="8" creationId="{6189840A-674E-1182-65C7-A7C014F02347}"/>
          </ac:spMkLst>
        </pc:spChg>
      </pc:sldChg>
      <pc:sldChg chg="modNotes">
        <pc:chgData name="Famke van Heeckeren tot Overlaer" userId="S::f.vanheeckeren@pznl.nl::96838a5c-d711-4189-832c-a15883880c52" providerId="AD" clId="Web-{02703EA9-0660-6622-0DD3-3CE2D800A8BA}" dt="2024-01-22T11:02:54.077" v="890"/>
        <pc:sldMkLst>
          <pc:docMk/>
          <pc:sldMk cId="139439553" sldId="271"/>
        </pc:sldMkLst>
      </pc:sldChg>
      <pc:sldChg chg="modNotes">
        <pc:chgData name="Famke van Heeckeren tot Overlaer" userId="S::f.vanheeckeren@pznl.nl::96838a5c-d711-4189-832c-a15883880c52" providerId="AD" clId="Web-{02703EA9-0660-6622-0DD3-3CE2D800A8BA}" dt="2024-01-22T10:58:41.692" v="727"/>
        <pc:sldMkLst>
          <pc:docMk/>
          <pc:sldMk cId="1504154189" sldId="272"/>
        </pc:sldMkLst>
      </pc:sldChg>
      <pc:sldChg chg="modNotes">
        <pc:chgData name="Famke van Heeckeren tot Overlaer" userId="S::f.vanheeckeren@pznl.nl::96838a5c-d711-4189-832c-a15883880c52" providerId="AD" clId="Web-{02703EA9-0660-6622-0DD3-3CE2D800A8BA}" dt="2024-01-22T11:04:03.673" v="964"/>
        <pc:sldMkLst>
          <pc:docMk/>
          <pc:sldMk cId="2001649844" sldId="273"/>
        </pc:sldMkLst>
      </pc:sldChg>
      <pc:sldChg chg="modSp modNotes">
        <pc:chgData name="Famke van Heeckeren tot Overlaer" userId="S::f.vanheeckeren@pznl.nl::96838a5c-d711-4189-832c-a15883880c52" providerId="AD" clId="Web-{02703EA9-0660-6622-0DD3-3CE2D800A8BA}" dt="2024-01-22T11:07:58.136" v="1068"/>
        <pc:sldMkLst>
          <pc:docMk/>
          <pc:sldMk cId="1329402463" sldId="274"/>
        </pc:sldMkLst>
        <pc:spChg chg="mod">
          <ac:chgData name="Famke van Heeckeren tot Overlaer" userId="S::f.vanheeckeren@pznl.nl::96838a5c-d711-4189-832c-a15883880c52" providerId="AD" clId="Web-{02703EA9-0660-6622-0DD3-3CE2D800A8BA}" dt="2024-01-22T11:07:20.915" v="1055" actId="20577"/>
          <ac:spMkLst>
            <pc:docMk/>
            <pc:sldMk cId="1329402463" sldId="274"/>
            <ac:spMk id="10" creationId="{0AFA99E9-A936-FEA0-C97B-FC32E5F1AB3D}"/>
          </ac:spMkLst>
        </pc:spChg>
      </pc:sldChg>
      <pc:sldChg chg="modNotes">
        <pc:chgData name="Famke van Heeckeren tot Overlaer" userId="S::f.vanheeckeren@pznl.nl::96838a5c-d711-4189-832c-a15883880c52" providerId="AD" clId="Web-{02703EA9-0660-6622-0DD3-3CE2D800A8BA}" dt="2024-01-22T11:09:08.795" v="1096"/>
        <pc:sldMkLst>
          <pc:docMk/>
          <pc:sldMk cId="3748225533" sldId="275"/>
        </pc:sldMkLst>
      </pc:sldChg>
      <pc:sldChg chg="modNotes">
        <pc:chgData name="Famke van Heeckeren tot Overlaer" userId="S::f.vanheeckeren@pznl.nl::96838a5c-d711-4189-832c-a15883880c52" providerId="AD" clId="Web-{02703EA9-0660-6622-0DD3-3CE2D800A8BA}" dt="2024-01-22T11:12:26.037" v="1367"/>
        <pc:sldMkLst>
          <pc:docMk/>
          <pc:sldMk cId="2310427119" sldId="276"/>
        </pc:sldMkLst>
      </pc:sldChg>
      <pc:sldChg chg="modNotes">
        <pc:chgData name="Famke van Heeckeren tot Overlaer" userId="S::f.vanheeckeren@pznl.nl::96838a5c-d711-4189-832c-a15883880c52" providerId="AD" clId="Web-{02703EA9-0660-6622-0DD3-3CE2D800A8BA}" dt="2024-01-22T11:04:15.924" v="982"/>
        <pc:sldMkLst>
          <pc:docMk/>
          <pc:sldMk cId="78620943" sldId="277"/>
        </pc:sldMkLst>
      </pc:sldChg>
      <pc:sldChg chg="modSp del">
        <pc:chgData name="Famke van Heeckeren tot Overlaer" userId="S::f.vanheeckeren@pznl.nl::96838a5c-d711-4189-832c-a15883880c52" providerId="AD" clId="Web-{02703EA9-0660-6622-0DD3-3CE2D800A8BA}" dt="2024-01-22T11:07:37.494" v="1056"/>
        <pc:sldMkLst>
          <pc:docMk/>
          <pc:sldMk cId="2456024121" sldId="278"/>
        </pc:sldMkLst>
        <pc:spChg chg="mod">
          <ac:chgData name="Famke van Heeckeren tot Overlaer" userId="S::f.vanheeckeren@pznl.nl::96838a5c-d711-4189-832c-a15883880c52" providerId="AD" clId="Web-{02703EA9-0660-6622-0DD3-3CE2D800A8BA}" dt="2024-01-22T11:06:39.711" v="1046" actId="20577"/>
          <ac:spMkLst>
            <pc:docMk/>
            <pc:sldMk cId="2456024121" sldId="278"/>
            <ac:spMk id="10" creationId="{0AFA99E9-A936-FEA0-C97B-FC32E5F1AB3D}"/>
          </ac:spMkLst>
        </pc:spChg>
      </pc:sldChg>
    </pc:docChg>
  </pc:docChgLst>
  <pc:docChgLst>
    <pc:chgData name="Elise Posma" userId="S::e.posma@pznl.nl::0b5ac1b5-28cd-4814-9a1c-0820a8913ccf" providerId="AD" clId="Web-{390F9AC9-2E68-BF63-D725-9B7303F7C754}"/>
    <pc:docChg chg="modSld">
      <pc:chgData name="Elise Posma" userId="S::e.posma@pznl.nl::0b5ac1b5-28cd-4814-9a1c-0820a8913ccf" providerId="AD" clId="Web-{390F9AC9-2E68-BF63-D725-9B7303F7C754}" dt="2024-01-08T16:28:22.785" v="2" actId="14100"/>
      <pc:docMkLst>
        <pc:docMk/>
      </pc:docMkLst>
      <pc:sldChg chg="modSp">
        <pc:chgData name="Elise Posma" userId="S::e.posma@pznl.nl::0b5ac1b5-28cd-4814-9a1c-0820a8913ccf" providerId="AD" clId="Web-{390F9AC9-2E68-BF63-D725-9B7303F7C754}" dt="2024-01-08T16:28:22.785" v="2" actId="14100"/>
        <pc:sldMkLst>
          <pc:docMk/>
          <pc:sldMk cId="3429857549" sldId="266"/>
        </pc:sldMkLst>
        <pc:spChg chg="mod">
          <ac:chgData name="Elise Posma" userId="S::e.posma@pznl.nl::0b5ac1b5-28cd-4814-9a1c-0820a8913ccf" providerId="AD" clId="Web-{390F9AC9-2E68-BF63-D725-9B7303F7C754}" dt="2024-01-08T16:28:22.785" v="2" actId="14100"/>
          <ac:spMkLst>
            <pc:docMk/>
            <pc:sldMk cId="3429857549" sldId="266"/>
            <ac:spMk id="2" creationId="{E5FCBA45-136D-9CA6-9FDD-6B1BA73D20CC}"/>
          </ac:spMkLst>
        </pc:spChg>
      </pc:sldChg>
      <pc:sldChg chg="modSp">
        <pc:chgData name="Elise Posma" userId="S::e.posma@pznl.nl::0b5ac1b5-28cd-4814-9a1c-0820a8913ccf" providerId="AD" clId="Web-{390F9AC9-2E68-BF63-D725-9B7303F7C754}" dt="2024-01-08T16:27:50.549" v="1" actId="1076"/>
        <pc:sldMkLst>
          <pc:docMk/>
          <pc:sldMk cId="139439553" sldId="271"/>
        </pc:sldMkLst>
        <pc:picChg chg="mod">
          <ac:chgData name="Elise Posma" userId="S::e.posma@pznl.nl::0b5ac1b5-28cd-4814-9a1c-0820a8913ccf" providerId="AD" clId="Web-{390F9AC9-2E68-BF63-D725-9B7303F7C754}" dt="2024-01-08T16:27:48.455" v="0" actId="1076"/>
          <ac:picMkLst>
            <pc:docMk/>
            <pc:sldMk cId="139439553" sldId="271"/>
            <ac:picMk id="2" creationId="{A1E35B7C-E15B-67C8-01CB-F6264FA1957D}"/>
          </ac:picMkLst>
        </pc:picChg>
        <pc:picChg chg="mod">
          <ac:chgData name="Elise Posma" userId="S::e.posma@pznl.nl::0b5ac1b5-28cd-4814-9a1c-0820a8913ccf" providerId="AD" clId="Web-{390F9AC9-2E68-BF63-D725-9B7303F7C754}" dt="2024-01-08T16:27:50.549" v="1" actId="1076"/>
          <ac:picMkLst>
            <pc:docMk/>
            <pc:sldMk cId="139439553" sldId="271"/>
            <ac:picMk id="4" creationId="{A591CEA0-E050-C84C-29BB-94A5F7A3BA8D}"/>
          </ac:picMkLst>
        </pc:picChg>
      </pc:sldChg>
    </pc:docChg>
  </pc:docChgLst>
  <pc:docChgLst>
    <pc:chgData name="Ank Louwes" userId="S::a.louwes@pznl.nl::afde4120-2980-4fd3-9aab-23d0ef32f51f" providerId="AD" clId="Web-{DCC79029-E737-FC0B-8E3D-B27ECB4FC204}"/>
    <pc:docChg chg="modSld">
      <pc:chgData name="Ank Louwes" userId="S::a.louwes@pznl.nl::afde4120-2980-4fd3-9aab-23d0ef32f51f" providerId="AD" clId="Web-{DCC79029-E737-FC0B-8E3D-B27ECB4FC204}" dt="2024-10-09T14:59:07.818" v="16" actId="20577"/>
      <pc:docMkLst>
        <pc:docMk/>
      </pc:docMkLst>
      <pc:sldChg chg="modSp">
        <pc:chgData name="Ank Louwes" userId="S::a.louwes@pznl.nl::afde4120-2980-4fd3-9aab-23d0ef32f51f" providerId="AD" clId="Web-{DCC79029-E737-FC0B-8E3D-B27ECB4FC204}" dt="2024-10-09T14:58:55.865" v="13" actId="20577"/>
        <pc:sldMkLst>
          <pc:docMk/>
          <pc:sldMk cId="409741479" sldId="268"/>
        </pc:sldMkLst>
        <pc:spChg chg="mod">
          <ac:chgData name="Ank Louwes" userId="S::a.louwes@pznl.nl::afde4120-2980-4fd3-9aab-23d0ef32f51f" providerId="AD" clId="Web-{DCC79029-E737-FC0B-8E3D-B27ECB4FC204}" dt="2024-10-09T14:58:55.865" v="13" actId="20577"/>
          <ac:spMkLst>
            <pc:docMk/>
            <pc:sldMk cId="409741479" sldId="268"/>
            <ac:spMk id="12" creationId="{3F5A8134-E7D5-CE49-8A49-368D6389E008}"/>
          </ac:spMkLst>
        </pc:spChg>
      </pc:sldChg>
      <pc:sldChg chg="modSp">
        <pc:chgData name="Ank Louwes" userId="S::a.louwes@pznl.nl::afde4120-2980-4fd3-9aab-23d0ef32f51f" providerId="AD" clId="Web-{DCC79029-E737-FC0B-8E3D-B27ECB4FC204}" dt="2024-10-09T14:51:49.825" v="7" actId="20577"/>
        <pc:sldMkLst>
          <pc:docMk/>
          <pc:sldMk cId="1329402463" sldId="274"/>
        </pc:sldMkLst>
        <pc:spChg chg="mod">
          <ac:chgData name="Ank Louwes" userId="S::a.louwes@pznl.nl::afde4120-2980-4fd3-9aab-23d0ef32f51f" providerId="AD" clId="Web-{DCC79029-E737-FC0B-8E3D-B27ECB4FC204}" dt="2024-10-09T14:51:49.825" v="7" actId="20577"/>
          <ac:spMkLst>
            <pc:docMk/>
            <pc:sldMk cId="1329402463" sldId="274"/>
            <ac:spMk id="10" creationId="{0AFA99E9-A936-FEA0-C97B-FC32E5F1AB3D}"/>
          </ac:spMkLst>
        </pc:spChg>
      </pc:sldChg>
      <pc:sldChg chg="modSp">
        <pc:chgData name="Ank Louwes" userId="S::a.louwes@pznl.nl::afde4120-2980-4fd3-9aab-23d0ef32f51f" providerId="AD" clId="Web-{DCC79029-E737-FC0B-8E3D-B27ECB4FC204}" dt="2024-10-09T14:59:07.818" v="16" actId="20577"/>
        <pc:sldMkLst>
          <pc:docMk/>
          <pc:sldMk cId="3477824738" sldId="279"/>
        </pc:sldMkLst>
        <pc:spChg chg="mod">
          <ac:chgData name="Ank Louwes" userId="S::a.louwes@pznl.nl::afde4120-2980-4fd3-9aab-23d0ef32f51f" providerId="AD" clId="Web-{DCC79029-E737-FC0B-8E3D-B27ECB4FC204}" dt="2024-10-09T14:59:07.818" v="16" actId="20577"/>
          <ac:spMkLst>
            <pc:docMk/>
            <pc:sldMk cId="3477824738" sldId="279"/>
            <ac:spMk id="2" creationId="{6C6A25EE-B167-7BC7-D389-7C3601565AEE}"/>
          </ac:spMkLst>
        </pc:spChg>
      </pc:sldChg>
      <pc:sldChg chg="modSp">
        <pc:chgData name="Ank Louwes" userId="S::a.louwes@pznl.nl::afde4120-2980-4fd3-9aab-23d0ef32f51f" providerId="AD" clId="Web-{DCC79029-E737-FC0B-8E3D-B27ECB4FC204}" dt="2024-10-09T14:47:29.319" v="1" actId="20577"/>
        <pc:sldMkLst>
          <pc:docMk/>
          <pc:sldMk cId="1126675768" sldId="280"/>
        </pc:sldMkLst>
        <pc:spChg chg="mod">
          <ac:chgData name="Ank Louwes" userId="S::a.louwes@pznl.nl::afde4120-2980-4fd3-9aab-23d0ef32f51f" providerId="AD" clId="Web-{DCC79029-E737-FC0B-8E3D-B27ECB4FC204}" dt="2024-10-09T14:47:29.319" v="1" actId="20577"/>
          <ac:spMkLst>
            <pc:docMk/>
            <pc:sldMk cId="1126675768" sldId="280"/>
            <ac:spMk id="3" creationId="{415CF7FC-3BC3-7FA5-6ACE-F1152CEC6B30}"/>
          </ac:spMkLst>
        </pc:spChg>
      </pc:sldChg>
      <pc:sldChg chg="modSp">
        <pc:chgData name="Ank Louwes" userId="S::a.louwes@pznl.nl::afde4120-2980-4fd3-9aab-23d0ef32f51f" providerId="AD" clId="Web-{DCC79029-E737-FC0B-8E3D-B27ECB4FC204}" dt="2024-10-09T14:55:52.080" v="9" actId="20577"/>
        <pc:sldMkLst>
          <pc:docMk/>
          <pc:sldMk cId="742450582" sldId="282"/>
        </pc:sldMkLst>
        <pc:spChg chg="mod">
          <ac:chgData name="Ank Louwes" userId="S::a.louwes@pznl.nl::afde4120-2980-4fd3-9aab-23d0ef32f51f" providerId="AD" clId="Web-{DCC79029-E737-FC0B-8E3D-B27ECB4FC204}" dt="2024-10-09T14:55:52.080" v="9" actId="20577"/>
          <ac:spMkLst>
            <pc:docMk/>
            <pc:sldMk cId="742450582" sldId="282"/>
            <ac:spMk id="10" creationId="{0AFA99E9-A936-FEA0-C97B-FC32E5F1AB3D}"/>
          </ac:spMkLst>
        </pc:spChg>
      </pc:sldChg>
    </pc:docChg>
  </pc:docChgLst>
  <pc:docChgLst>
    <pc:chgData name="Elise Posma" userId="0b5ac1b5-28cd-4814-9a1c-0820a8913ccf" providerId="ADAL" clId="{44191E85-01AC-4B26-80E7-C6B99FA8EA9A}"/>
    <pc:docChg chg="undo custSel addSld modSld sldOrd modMainMaster">
      <pc:chgData name="Elise Posma" userId="0b5ac1b5-28cd-4814-9a1c-0820a8913ccf" providerId="ADAL" clId="{44191E85-01AC-4B26-80E7-C6B99FA8EA9A}" dt="2024-01-23T14:05:43.172" v="1013" actId="6549"/>
      <pc:docMkLst>
        <pc:docMk/>
      </pc:docMkLst>
      <pc:sldChg chg="addSp delSp modSp mod chgLayout modNotesTx">
        <pc:chgData name="Elise Posma" userId="0b5ac1b5-28cd-4814-9a1c-0820a8913ccf" providerId="ADAL" clId="{44191E85-01AC-4B26-80E7-C6B99FA8EA9A}" dt="2024-01-23T13:55:09.803" v="504" actId="20577"/>
        <pc:sldMkLst>
          <pc:docMk/>
          <pc:sldMk cId="2979246287" sldId="258"/>
        </pc:sldMkLst>
        <pc:spChg chg="add del mod">
          <ac:chgData name="Elise Posma" userId="0b5ac1b5-28cd-4814-9a1c-0820a8913ccf" providerId="ADAL" clId="{44191E85-01AC-4B26-80E7-C6B99FA8EA9A}" dt="2024-01-08T13:39:57.418" v="12" actId="6264"/>
          <ac:spMkLst>
            <pc:docMk/>
            <pc:sldMk cId="2979246287" sldId="258"/>
            <ac:spMk id="2" creationId="{F7071BF9-E348-2164-4CCF-80F31AD8A27D}"/>
          </ac:spMkLst>
        </pc:spChg>
        <pc:spChg chg="add del mod">
          <ac:chgData name="Elise Posma" userId="0b5ac1b5-28cd-4814-9a1c-0820a8913ccf" providerId="ADAL" clId="{44191E85-01AC-4B26-80E7-C6B99FA8EA9A}" dt="2024-01-08T13:39:57.418" v="12" actId="6264"/>
          <ac:spMkLst>
            <pc:docMk/>
            <pc:sldMk cId="2979246287" sldId="258"/>
            <ac:spMk id="3" creationId="{31B3E68B-C813-7E3A-FD49-4D567E7617F8}"/>
          </ac:spMkLst>
        </pc:spChg>
        <pc:spChg chg="add del mod">
          <ac:chgData name="Elise Posma" userId="0b5ac1b5-28cd-4814-9a1c-0820a8913ccf" providerId="ADAL" clId="{44191E85-01AC-4B26-80E7-C6B99FA8EA9A}" dt="2024-01-08T13:39:57.418" v="12" actId="6264"/>
          <ac:spMkLst>
            <pc:docMk/>
            <pc:sldMk cId="2979246287" sldId="258"/>
            <ac:spMk id="4" creationId="{EDC976B0-5240-A34B-2E44-1AC4212F9C96}"/>
          </ac:spMkLst>
        </pc:spChg>
        <pc:spChg chg="mod ord">
          <ac:chgData name="Elise Posma" userId="0b5ac1b5-28cd-4814-9a1c-0820a8913ccf" providerId="ADAL" clId="{44191E85-01AC-4B26-80E7-C6B99FA8EA9A}" dt="2024-01-08T13:39:57.418" v="12" actId="6264"/>
          <ac:spMkLst>
            <pc:docMk/>
            <pc:sldMk cId="2979246287" sldId="258"/>
            <ac:spMk id="5" creationId="{EB90229F-22FD-98D1-48DF-E3D3E912710D}"/>
          </ac:spMkLst>
        </pc:spChg>
        <pc:spChg chg="mod ord">
          <ac:chgData name="Elise Posma" userId="0b5ac1b5-28cd-4814-9a1c-0820a8913ccf" providerId="ADAL" clId="{44191E85-01AC-4B26-80E7-C6B99FA8EA9A}" dt="2024-01-08T13:39:57.418" v="12" actId="6264"/>
          <ac:spMkLst>
            <pc:docMk/>
            <pc:sldMk cId="2979246287" sldId="258"/>
            <ac:spMk id="6" creationId="{1B8FE0CD-ECE0-7B30-25C0-56C37C6B83EA}"/>
          </ac:spMkLst>
        </pc:spChg>
        <pc:spChg chg="mod ord">
          <ac:chgData name="Elise Posma" userId="0b5ac1b5-28cd-4814-9a1c-0820a8913ccf" providerId="ADAL" clId="{44191E85-01AC-4B26-80E7-C6B99FA8EA9A}" dt="2024-01-08T13:39:57.418" v="12" actId="6264"/>
          <ac:spMkLst>
            <pc:docMk/>
            <pc:sldMk cId="2979246287" sldId="258"/>
            <ac:spMk id="7" creationId="{0EDF6B68-DA54-2986-D44B-05022A2B0F2D}"/>
          </ac:spMkLst>
        </pc:spChg>
        <pc:spChg chg="mod ord">
          <ac:chgData name="Elise Posma" userId="0b5ac1b5-28cd-4814-9a1c-0820a8913ccf" providerId="ADAL" clId="{44191E85-01AC-4B26-80E7-C6B99FA8EA9A}" dt="2024-01-08T14:13:20.143" v="255" actId="20577"/>
          <ac:spMkLst>
            <pc:docMk/>
            <pc:sldMk cId="2979246287" sldId="258"/>
            <ac:spMk id="8" creationId="{6189840A-674E-1182-65C7-A7C014F02347}"/>
          </ac:spMkLst>
        </pc:spChg>
        <pc:spChg chg="add del mod">
          <ac:chgData name="Elise Posma" userId="0b5ac1b5-28cd-4814-9a1c-0820a8913ccf" providerId="ADAL" clId="{44191E85-01AC-4B26-80E7-C6B99FA8EA9A}" dt="2024-01-08T13:39:57.418" v="12" actId="6264"/>
          <ac:spMkLst>
            <pc:docMk/>
            <pc:sldMk cId="2979246287" sldId="258"/>
            <ac:spMk id="9" creationId="{3F9E91F5-F19C-ABD6-68DC-EBDF10E56F47}"/>
          </ac:spMkLst>
        </pc:spChg>
        <pc:spChg chg="add del mod">
          <ac:chgData name="Elise Posma" userId="0b5ac1b5-28cd-4814-9a1c-0820a8913ccf" providerId="ADAL" clId="{44191E85-01AC-4B26-80E7-C6B99FA8EA9A}" dt="2024-01-08T13:39:57.418" v="12" actId="6264"/>
          <ac:spMkLst>
            <pc:docMk/>
            <pc:sldMk cId="2979246287" sldId="258"/>
            <ac:spMk id="10" creationId="{E82FA22F-FC4B-9429-8B9D-F1078A573BA4}"/>
          </ac:spMkLst>
        </pc:spChg>
      </pc:sldChg>
      <pc:sldChg chg="modSp mod ord modNotesTx">
        <pc:chgData name="Elise Posma" userId="0b5ac1b5-28cd-4814-9a1c-0820a8913ccf" providerId="ADAL" clId="{44191E85-01AC-4B26-80E7-C6B99FA8EA9A}" dt="2024-01-23T13:54:37.022" v="485" actId="20577"/>
        <pc:sldMkLst>
          <pc:docMk/>
          <pc:sldMk cId="2326729184" sldId="267"/>
        </pc:sldMkLst>
        <pc:spChg chg="mod">
          <ac:chgData name="Elise Posma" userId="0b5ac1b5-28cd-4814-9a1c-0820a8913ccf" providerId="ADAL" clId="{44191E85-01AC-4B26-80E7-C6B99FA8EA9A}" dt="2024-01-08T13:37:51.966" v="10" actId="6549"/>
          <ac:spMkLst>
            <pc:docMk/>
            <pc:sldMk cId="2326729184" sldId="267"/>
            <ac:spMk id="4" creationId="{EDC976B0-5240-A34B-2E44-1AC4212F9C96}"/>
          </ac:spMkLst>
        </pc:spChg>
      </pc:sldChg>
      <pc:sldChg chg="modSp mod modNotesTx">
        <pc:chgData name="Elise Posma" userId="0b5ac1b5-28cd-4814-9a1c-0820a8913ccf" providerId="ADAL" clId="{44191E85-01AC-4B26-80E7-C6B99FA8EA9A}" dt="2024-01-23T13:56:46.908" v="573" actId="20577"/>
        <pc:sldMkLst>
          <pc:docMk/>
          <pc:sldMk cId="409741479" sldId="268"/>
        </pc:sldMkLst>
        <pc:spChg chg="mod">
          <ac:chgData name="Elise Posma" userId="0b5ac1b5-28cd-4814-9a1c-0820a8913ccf" providerId="ADAL" clId="{44191E85-01AC-4B26-80E7-C6B99FA8EA9A}" dt="2024-01-08T13:51:33.887" v="146" actId="113"/>
          <ac:spMkLst>
            <pc:docMk/>
            <pc:sldMk cId="409741479" sldId="268"/>
            <ac:spMk id="10" creationId="{0AFA99E9-A936-FEA0-C97B-FC32E5F1AB3D}"/>
          </ac:spMkLst>
        </pc:spChg>
        <pc:spChg chg="mod">
          <ac:chgData name="Elise Posma" userId="0b5ac1b5-28cd-4814-9a1c-0820a8913ccf" providerId="ADAL" clId="{44191E85-01AC-4B26-80E7-C6B99FA8EA9A}" dt="2024-01-08T14:28:11.087" v="301" actId="20577"/>
          <ac:spMkLst>
            <pc:docMk/>
            <pc:sldMk cId="409741479" sldId="268"/>
            <ac:spMk id="12" creationId="{3F5A8134-E7D5-CE49-8A49-368D6389E008}"/>
          </ac:spMkLst>
        </pc:spChg>
      </pc:sldChg>
      <pc:sldChg chg="addSp modSp mod">
        <pc:chgData name="Elise Posma" userId="0b5ac1b5-28cd-4814-9a1c-0820a8913ccf" providerId="ADAL" clId="{44191E85-01AC-4B26-80E7-C6B99FA8EA9A}" dt="2024-01-08T14:27:06.054" v="300" actId="1076"/>
        <pc:sldMkLst>
          <pc:docMk/>
          <pc:sldMk cId="3307292787" sldId="269"/>
        </pc:sldMkLst>
        <pc:spChg chg="mod">
          <ac:chgData name="Elise Posma" userId="0b5ac1b5-28cd-4814-9a1c-0820a8913ccf" providerId="ADAL" clId="{44191E85-01AC-4B26-80E7-C6B99FA8EA9A}" dt="2024-01-08T14:27:03.866" v="299" actId="14100"/>
          <ac:spMkLst>
            <pc:docMk/>
            <pc:sldMk cId="3307292787" sldId="269"/>
            <ac:spMk id="8" creationId="{6189840A-674E-1182-65C7-A7C014F02347}"/>
          </ac:spMkLst>
        </pc:spChg>
        <pc:picChg chg="add mod">
          <ac:chgData name="Elise Posma" userId="0b5ac1b5-28cd-4814-9a1c-0820a8913ccf" providerId="ADAL" clId="{44191E85-01AC-4B26-80E7-C6B99FA8EA9A}" dt="2024-01-08T14:27:06.054" v="300" actId="1076"/>
          <ac:picMkLst>
            <pc:docMk/>
            <pc:sldMk cId="3307292787" sldId="269"/>
            <ac:picMk id="2" creationId="{872F1797-1EDE-3D71-9A1B-EBF2C363D9CC}"/>
          </ac:picMkLst>
        </pc:picChg>
      </pc:sldChg>
      <pc:sldChg chg="addSp modSp mod modNotesTx">
        <pc:chgData name="Elise Posma" userId="0b5ac1b5-28cd-4814-9a1c-0820a8913ccf" providerId="ADAL" clId="{44191E85-01AC-4B26-80E7-C6B99FA8EA9A}" dt="2024-01-23T13:58:10.783" v="624" actId="20577"/>
        <pc:sldMkLst>
          <pc:docMk/>
          <pc:sldMk cId="139439553" sldId="271"/>
        </pc:sldMkLst>
        <pc:spChg chg="mod">
          <ac:chgData name="Elise Posma" userId="0b5ac1b5-28cd-4814-9a1c-0820a8913ccf" providerId="ADAL" clId="{44191E85-01AC-4B26-80E7-C6B99FA8EA9A}" dt="2024-01-08T14:08:18.222" v="179" actId="14100"/>
          <ac:spMkLst>
            <pc:docMk/>
            <pc:sldMk cId="139439553" sldId="271"/>
            <ac:spMk id="10" creationId="{0AFA99E9-A936-FEA0-C97B-FC32E5F1AB3D}"/>
          </ac:spMkLst>
        </pc:spChg>
        <pc:picChg chg="add mod">
          <ac:chgData name="Elise Posma" userId="0b5ac1b5-28cd-4814-9a1c-0820a8913ccf" providerId="ADAL" clId="{44191E85-01AC-4B26-80E7-C6B99FA8EA9A}" dt="2024-01-08T14:11:15.507" v="194" actId="1076"/>
          <ac:picMkLst>
            <pc:docMk/>
            <pc:sldMk cId="139439553" sldId="271"/>
            <ac:picMk id="2" creationId="{A1E35B7C-E15B-67C8-01CB-F6264FA1957D}"/>
          </ac:picMkLst>
        </pc:picChg>
        <pc:picChg chg="add mod modCrop">
          <ac:chgData name="Elise Posma" userId="0b5ac1b5-28cd-4814-9a1c-0820a8913ccf" providerId="ADAL" clId="{44191E85-01AC-4B26-80E7-C6B99FA8EA9A}" dt="2024-01-08T14:17:16.973" v="266" actId="14100"/>
          <ac:picMkLst>
            <pc:docMk/>
            <pc:sldMk cId="139439553" sldId="271"/>
            <ac:picMk id="4" creationId="{A591CEA0-E050-C84C-29BB-94A5F7A3BA8D}"/>
          </ac:picMkLst>
        </pc:picChg>
      </pc:sldChg>
      <pc:sldChg chg="addSp modSp mod modNotesTx">
        <pc:chgData name="Elise Posma" userId="0b5ac1b5-28cd-4814-9a1c-0820a8913ccf" providerId="ADAL" clId="{44191E85-01AC-4B26-80E7-C6B99FA8EA9A}" dt="2024-01-23T13:57:03.483" v="602" actId="6549"/>
        <pc:sldMkLst>
          <pc:docMk/>
          <pc:sldMk cId="1504154189" sldId="272"/>
        </pc:sldMkLst>
        <pc:spChg chg="add mod">
          <ac:chgData name="Elise Posma" userId="0b5ac1b5-28cd-4814-9a1c-0820a8913ccf" providerId="ADAL" clId="{44191E85-01AC-4B26-80E7-C6B99FA8EA9A}" dt="2024-01-08T14:03:13.839" v="159" actId="255"/>
          <ac:spMkLst>
            <pc:docMk/>
            <pc:sldMk cId="1504154189" sldId="272"/>
            <ac:spMk id="3" creationId="{C3129326-1AB9-55C0-5C47-433DDBBB5426}"/>
          </ac:spMkLst>
        </pc:spChg>
        <pc:picChg chg="add mod modCrop">
          <ac:chgData name="Elise Posma" userId="0b5ac1b5-28cd-4814-9a1c-0820a8913ccf" providerId="ADAL" clId="{44191E85-01AC-4B26-80E7-C6B99FA8EA9A}" dt="2024-01-08T14:03:38.340" v="160"/>
          <ac:picMkLst>
            <pc:docMk/>
            <pc:sldMk cId="1504154189" sldId="272"/>
            <ac:picMk id="5" creationId="{7F42C67A-1AED-EB39-8FEB-881B47DD7669}"/>
          </ac:picMkLst>
        </pc:picChg>
      </pc:sldChg>
      <pc:sldChg chg="addSp modSp mod ord modNotesTx">
        <pc:chgData name="Elise Posma" userId="0b5ac1b5-28cd-4814-9a1c-0820a8913ccf" providerId="ADAL" clId="{44191E85-01AC-4B26-80E7-C6B99FA8EA9A}" dt="2024-01-23T13:58:36.651" v="675" actId="20577"/>
        <pc:sldMkLst>
          <pc:docMk/>
          <pc:sldMk cId="2001649844" sldId="273"/>
        </pc:sldMkLst>
        <pc:spChg chg="add mod">
          <ac:chgData name="Elise Posma" userId="0b5ac1b5-28cd-4814-9a1c-0820a8913ccf" providerId="ADAL" clId="{44191E85-01AC-4B26-80E7-C6B99FA8EA9A}" dt="2024-01-08T14:28:34.824" v="303" actId="1076"/>
          <ac:spMkLst>
            <pc:docMk/>
            <pc:sldMk cId="2001649844" sldId="273"/>
            <ac:spMk id="3" creationId="{415CF7FC-3BC3-7FA5-6ACE-F1152CEC6B30}"/>
          </ac:spMkLst>
        </pc:spChg>
        <pc:picChg chg="mod">
          <ac:chgData name="Elise Posma" userId="0b5ac1b5-28cd-4814-9a1c-0820a8913ccf" providerId="ADAL" clId="{44191E85-01AC-4B26-80E7-C6B99FA8EA9A}" dt="2024-01-22T15:31:17.985" v="327" actId="1076"/>
          <ac:picMkLst>
            <pc:docMk/>
            <pc:sldMk cId="2001649844" sldId="273"/>
            <ac:picMk id="10" creationId="{BECE2B37-A7D4-DE1D-F3DC-BAEAF96DE294}"/>
          </ac:picMkLst>
        </pc:picChg>
      </pc:sldChg>
      <pc:sldChg chg="modSp mod modNotesTx">
        <pc:chgData name="Elise Posma" userId="0b5ac1b5-28cd-4814-9a1c-0820a8913ccf" providerId="ADAL" clId="{44191E85-01AC-4B26-80E7-C6B99FA8EA9A}" dt="2024-01-23T14:03:42.059" v="755"/>
        <pc:sldMkLst>
          <pc:docMk/>
          <pc:sldMk cId="1329402463" sldId="274"/>
        </pc:sldMkLst>
        <pc:spChg chg="mod">
          <ac:chgData name="Elise Posma" userId="0b5ac1b5-28cd-4814-9a1c-0820a8913ccf" providerId="ADAL" clId="{44191E85-01AC-4B26-80E7-C6B99FA8EA9A}" dt="2024-01-08T14:28:54.280" v="323" actId="14100"/>
          <ac:spMkLst>
            <pc:docMk/>
            <pc:sldMk cId="1329402463" sldId="274"/>
            <ac:spMk id="10" creationId="{0AFA99E9-A936-FEA0-C97B-FC32E5F1AB3D}"/>
          </ac:spMkLst>
        </pc:spChg>
      </pc:sldChg>
      <pc:sldChg chg="modSp mod modNotesTx">
        <pc:chgData name="Elise Posma" userId="0b5ac1b5-28cd-4814-9a1c-0820a8913ccf" providerId="ADAL" clId="{44191E85-01AC-4B26-80E7-C6B99FA8EA9A}" dt="2024-01-23T14:04:12.349" v="778" actId="20577"/>
        <pc:sldMkLst>
          <pc:docMk/>
          <pc:sldMk cId="3748225533" sldId="275"/>
        </pc:sldMkLst>
        <pc:spChg chg="mod">
          <ac:chgData name="Elise Posma" userId="0b5ac1b5-28cd-4814-9a1c-0820a8913ccf" providerId="ADAL" clId="{44191E85-01AC-4B26-80E7-C6B99FA8EA9A}" dt="2024-01-08T14:15:19.129" v="264" actId="948"/>
          <ac:spMkLst>
            <pc:docMk/>
            <pc:sldMk cId="3748225533" sldId="275"/>
            <ac:spMk id="10" creationId="{0AFA99E9-A936-FEA0-C97B-FC32E5F1AB3D}"/>
          </ac:spMkLst>
        </pc:spChg>
      </pc:sldChg>
      <pc:sldChg chg="modNotesTx">
        <pc:chgData name="Elise Posma" userId="0b5ac1b5-28cd-4814-9a1c-0820a8913ccf" providerId="ADAL" clId="{44191E85-01AC-4B26-80E7-C6B99FA8EA9A}" dt="2024-01-23T14:05:43.172" v="1013" actId="6549"/>
        <pc:sldMkLst>
          <pc:docMk/>
          <pc:sldMk cId="2310427119" sldId="276"/>
        </pc:sldMkLst>
      </pc:sldChg>
      <pc:sldChg chg="modSp add mod">
        <pc:chgData name="Elise Posma" userId="0b5ac1b5-28cd-4814-9a1c-0820a8913ccf" providerId="ADAL" clId="{44191E85-01AC-4B26-80E7-C6B99FA8EA9A}" dt="2024-01-08T14:28:48.869" v="322" actId="20577"/>
        <pc:sldMkLst>
          <pc:docMk/>
          <pc:sldMk cId="78620943" sldId="277"/>
        </pc:sldMkLst>
        <pc:spChg chg="mod">
          <ac:chgData name="Elise Posma" userId="0b5ac1b5-28cd-4814-9a1c-0820a8913ccf" providerId="ADAL" clId="{44191E85-01AC-4B26-80E7-C6B99FA8EA9A}" dt="2024-01-08T14:28:48.869" v="322" actId="20577"/>
          <ac:spMkLst>
            <pc:docMk/>
            <pc:sldMk cId="78620943" sldId="277"/>
            <ac:spMk id="3" creationId="{415CF7FC-3BC3-7FA5-6ACE-F1152CEC6B30}"/>
          </ac:spMkLst>
        </pc:spChg>
        <pc:spChg chg="mod">
          <ac:chgData name="Elise Posma" userId="0b5ac1b5-28cd-4814-9a1c-0820a8913ccf" providerId="ADAL" clId="{44191E85-01AC-4B26-80E7-C6B99FA8EA9A}" dt="2024-01-08T14:18:09.236" v="276" actId="20577"/>
          <ac:spMkLst>
            <pc:docMk/>
            <pc:sldMk cId="78620943" sldId="277"/>
            <ac:spMk id="7" creationId="{0EDF6B68-DA54-2986-D44B-05022A2B0F2D}"/>
          </ac:spMkLst>
        </pc:spChg>
      </pc:sldChg>
      <pc:sldChg chg="modSp mod">
        <pc:chgData name="Elise Posma" userId="0b5ac1b5-28cd-4814-9a1c-0820a8913ccf" providerId="ADAL" clId="{44191E85-01AC-4B26-80E7-C6B99FA8EA9A}" dt="2024-01-08T14:26:27.462" v="296" actId="20577"/>
        <pc:sldMkLst>
          <pc:docMk/>
          <pc:sldMk cId="2456024121" sldId="278"/>
        </pc:sldMkLst>
        <pc:spChg chg="mod">
          <ac:chgData name="Elise Posma" userId="0b5ac1b5-28cd-4814-9a1c-0820a8913ccf" providerId="ADAL" clId="{44191E85-01AC-4B26-80E7-C6B99FA8EA9A}" dt="2024-01-08T14:26:27.462" v="296" actId="20577"/>
          <ac:spMkLst>
            <pc:docMk/>
            <pc:sldMk cId="2456024121" sldId="278"/>
            <ac:spMk id="10" creationId="{0AFA99E9-A936-FEA0-C97B-FC32E5F1AB3D}"/>
          </ac:spMkLst>
        </pc:spChg>
      </pc:sldChg>
      <pc:sldMasterChg chg="delSp mod modSldLayout">
        <pc:chgData name="Elise Posma" userId="0b5ac1b5-28cd-4814-9a1c-0820a8913ccf" providerId="ADAL" clId="{44191E85-01AC-4B26-80E7-C6B99FA8EA9A}" dt="2024-01-08T13:37:19.979" v="8" actId="478"/>
        <pc:sldMasterMkLst>
          <pc:docMk/>
          <pc:sldMasterMk cId="260304921" sldId="2147483668"/>
        </pc:sldMasterMkLst>
        <pc:spChg chg="del">
          <ac:chgData name="Elise Posma" userId="0b5ac1b5-28cd-4814-9a1c-0820a8913ccf" providerId="ADAL" clId="{44191E85-01AC-4B26-80E7-C6B99FA8EA9A}" dt="2024-01-08T13:37:07.972" v="6" actId="478"/>
          <ac:spMkLst>
            <pc:docMk/>
            <pc:sldMasterMk cId="260304921" sldId="2147483668"/>
            <ac:spMk id="4" creationId="{DDE99127-9CFA-A5F4-978A-ED9A234514ED}"/>
          </ac:spMkLst>
        </pc:spChg>
        <pc:sldLayoutChg chg="addSp delSp mod">
          <pc:chgData name="Elise Posma" userId="0b5ac1b5-28cd-4814-9a1c-0820a8913ccf" providerId="ADAL" clId="{44191E85-01AC-4B26-80E7-C6B99FA8EA9A}" dt="2024-01-08T13:37:19.979" v="8" actId="478"/>
          <pc:sldLayoutMkLst>
            <pc:docMk/>
            <pc:sldMasterMk cId="260304921" sldId="2147483648"/>
            <pc:sldLayoutMk cId="2380891576" sldId="2147483649"/>
          </pc:sldLayoutMkLst>
          <pc:spChg chg="add del">
            <ac:chgData name="Elise Posma" userId="0b5ac1b5-28cd-4814-9a1c-0820a8913ccf" providerId="ADAL" clId="{44191E85-01AC-4B26-80E7-C6B99FA8EA9A}" dt="2024-01-08T13:37:19.979" v="8" actId="478"/>
            <ac:spMkLst>
              <pc:docMk/>
              <pc:sldMasterMk cId="260304921" sldId="2147483648"/>
              <pc:sldLayoutMk cId="2380891576" sldId="2147483649"/>
              <ac:spMk id="10" creationId="{E53B6219-9DE8-577C-BFDB-EBAD7F1E4892}"/>
            </ac:spMkLst>
          </pc:spChg>
          <pc:spChg chg="del">
            <ac:chgData name="Elise Posma" userId="0b5ac1b5-28cd-4814-9a1c-0820a8913ccf" providerId="ADAL" clId="{44191E85-01AC-4B26-80E7-C6B99FA8EA9A}" dt="2024-01-08T13:35:58.542" v="1" actId="478"/>
            <ac:spMkLst>
              <pc:docMk/>
              <pc:sldMasterMk cId="260304921" sldId="2147483648"/>
              <pc:sldLayoutMk cId="2380891576" sldId="2147483649"/>
              <ac:spMk id="25" creationId="{62CEDFD6-1293-4EFF-DB05-6974094D033E}"/>
            </ac:spMkLst>
          </pc:spChg>
          <pc:picChg chg="del">
            <ac:chgData name="Elise Posma" userId="0b5ac1b5-28cd-4814-9a1c-0820a8913ccf" providerId="ADAL" clId="{44191E85-01AC-4B26-80E7-C6B99FA8EA9A}" dt="2024-01-08T13:35:56.282" v="0" actId="478"/>
            <ac:picMkLst>
              <pc:docMk/>
              <pc:sldMasterMk cId="260304921" sldId="2147483648"/>
              <pc:sldLayoutMk cId="2380891576" sldId="2147483649"/>
              <ac:picMk id="22" creationId="{B532F7BC-F65A-4753-4A72-111A3A25AC02}"/>
            </ac:picMkLst>
          </pc:picChg>
        </pc:sldLayoutChg>
        <pc:sldLayoutChg chg="delSp modSp mod">
          <pc:chgData name="Elise Posma" userId="0b5ac1b5-28cd-4814-9a1c-0820a8913ccf" providerId="ADAL" clId="{44191E85-01AC-4B26-80E7-C6B99FA8EA9A}" dt="2024-01-08T13:36:12.387" v="3" actId="478"/>
          <pc:sldLayoutMkLst>
            <pc:docMk/>
            <pc:sldMasterMk cId="260304921" sldId="2147483648"/>
            <pc:sldLayoutMk cId="732461634" sldId="2147483650"/>
          </pc:sldLayoutMkLst>
          <pc:spChg chg="del mod">
            <ac:chgData name="Elise Posma" userId="0b5ac1b5-28cd-4814-9a1c-0820a8913ccf" providerId="ADAL" clId="{44191E85-01AC-4B26-80E7-C6B99FA8EA9A}" dt="2024-01-08T13:36:12.387" v="3" actId="478"/>
            <ac:spMkLst>
              <pc:docMk/>
              <pc:sldMasterMk cId="260304921" sldId="2147483648"/>
              <pc:sldLayoutMk cId="732461634" sldId="2147483650"/>
              <ac:spMk id="4" creationId="{39CB2F7F-4870-0773-0868-7B77FA23E2C9}"/>
            </ac:spMkLst>
          </pc:spChg>
        </pc:sldLayoutChg>
        <pc:sldLayoutChg chg="delSp mod">
          <pc:chgData name="Elise Posma" userId="0b5ac1b5-28cd-4814-9a1c-0820a8913ccf" providerId="ADAL" clId="{44191E85-01AC-4B26-80E7-C6B99FA8EA9A}" dt="2024-01-08T13:36:14.683" v="4" actId="478"/>
          <pc:sldLayoutMkLst>
            <pc:docMk/>
            <pc:sldMasterMk cId="260304921" sldId="2147483648"/>
            <pc:sldLayoutMk cId="754242523" sldId="2147483660"/>
          </pc:sldLayoutMkLst>
          <pc:spChg chg="del">
            <ac:chgData name="Elise Posma" userId="0b5ac1b5-28cd-4814-9a1c-0820a8913ccf" providerId="ADAL" clId="{44191E85-01AC-4B26-80E7-C6B99FA8EA9A}" dt="2024-01-08T13:36:14.683" v="4" actId="478"/>
            <ac:spMkLst>
              <pc:docMk/>
              <pc:sldMasterMk cId="260304921" sldId="2147483648"/>
              <pc:sldLayoutMk cId="754242523" sldId="2147483660"/>
              <ac:spMk id="4" creationId="{39CB2F7F-4870-0773-0868-7B77FA23E2C9}"/>
            </ac:spMkLst>
          </pc:spChg>
        </pc:sldLayoutChg>
        <pc:sldLayoutChg chg="delSp mod">
          <pc:chgData name="Elise Posma" userId="0b5ac1b5-28cd-4814-9a1c-0820a8913ccf" providerId="ADAL" clId="{44191E85-01AC-4B26-80E7-C6B99FA8EA9A}" dt="2024-01-08T13:36:24.556" v="5" actId="478"/>
          <pc:sldLayoutMkLst>
            <pc:docMk/>
            <pc:sldMasterMk cId="260304921" sldId="2147483648"/>
            <pc:sldLayoutMk cId="56951022" sldId="2147483667"/>
          </pc:sldLayoutMkLst>
          <pc:spChg chg="del">
            <ac:chgData name="Elise Posma" userId="0b5ac1b5-28cd-4814-9a1c-0820a8913ccf" providerId="ADAL" clId="{44191E85-01AC-4B26-80E7-C6B99FA8EA9A}" dt="2024-01-08T13:36:24.556" v="5" actId="478"/>
            <ac:spMkLst>
              <pc:docMk/>
              <pc:sldMasterMk cId="260304921" sldId="2147483648"/>
              <pc:sldLayoutMk cId="56951022" sldId="2147483667"/>
              <ac:spMk id="5" creationId="{E27C79B8-46FA-A324-452F-2DCBBF3319E9}"/>
            </ac:spMkLst>
          </pc:spChg>
        </pc:sldLayoutChg>
      </pc:sldMasterChg>
    </pc:docChg>
  </pc:docChgLst>
  <pc:docChgLst>
    <pc:chgData name="Famke van Heeckeren tot Overlaer" userId="96838a5c-d711-4189-832c-a15883880c52" providerId="ADAL" clId="{9A8E7BE0-D6C5-4D42-A2E0-FA075C6708F5}"/>
    <pc:docChg chg="undo custSel modSld">
      <pc:chgData name="Famke van Heeckeren tot Overlaer" userId="96838a5c-d711-4189-832c-a15883880c52" providerId="ADAL" clId="{9A8E7BE0-D6C5-4D42-A2E0-FA075C6708F5}" dt="2024-11-27T16:18:52.212" v="47" actId="1035"/>
      <pc:docMkLst>
        <pc:docMk/>
      </pc:docMkLst>
      <pc:sldChg chg="modSp mod">
        <pc:chgData name="Famke van Heeckeren tot Overlaer" userId="96838a5c-d711-4189-832c-a15883880c52" providerId="ADAL" clId="{9A8E7BE0-D6C5-4D42-A2E0-FA075C6708F5}" dt="2024-11-27T16:07:15.933" v="4" actId="1076"/>
        <pc:sldMkLst>
          <pc:docMk/>
          <pc:sldMk cId="409741479" sldId="268"/>
        </pc:sldMkLst>
        <pc:spChg chg="mod">
          <ac:chgData name="Famke van Heeckeren tot Overlaer" userId="96838a5c-d711-4189-832c-a15883880c52" providerId="ADAL" clId="{9A8E7BE0-D6C5-4D42-A2E0-FA075C6708F5}" dt="2024-11-27T16:07:15.933" v="4" actId="1076"/>
          <ac:spMkLst>
            <pc:docMk/>
            <pc:sldMk cId="409741479" sldId="268"/>
            <ac:spMk id="12" creationId="{3F5A8134-E7D5-CE49-8A49-368D6389E008}"/>
          </ac:spMkLst>
        </pc:spChg>
      </pc:sldChg>
      <pc:sldChg chg="addSp modSp mod modClrScheme chgLayout">
        <pc:chgData name="Famke van Heeckeren tot Overlaer" userId="96838a5c-d711-4189-832c-a15883880c52" providerId="ADAL" clId="{9A8E7BE0-D6C5-4D42-A2E0-FA075C6708F5}" dt="2024-11-27T16:18:52.212" v="47" actId="1035"/>
        <pc:sldMkLst>
          <pc:docMk/>
          <pc:sldMk cId="1329402463" sldId="274"/>
        </pc:sldMkLst>
        <pc:spChg chg="mod ord">
          <ac:chgData name="Famke van Heeckeren tot Overlaer" userId="96838a5c-d711-4189-832c-a15883880c52" providerId="ADAL" clId="{9A8E7BE0-D6C5-4D42-A2E0-FA075C6708F5}" dt="2024-11-27T16:10:31.056" v="18" actId="26606"/>
          <ac:spMkLst>
            <pc:docMk/>
            <pc:sldMk cId="1329402463" sldId="274"/>
            <ac:spMk id="6" creationId="{1B8FE0CD-ECE0-7B30-25C0-56C37C6B83EA}"/>
          </ac:spMkLst>
        </pc:spChg>
        <pc:spChg chg="mod">
          <ac:chgData name="Famke van Heeckeren tot Overlaer" userId="96838a5c-d711-4189-832c-a15883880c52" providerId="ADAL" clId="{9A8E7BE0-D6C5-4D42-A2E0-FA075C6708F5}" dt="2024-11-27T16:10:31.056" v="18" actId="26606"/>
          <ac:spMkLst>
            <pc:docMk/>
            <pc:sldMk cId="1329402463" sldId="274"/>
            <ac:spMk id="7" creationId="{0EDF6B68-DA54-2986-D44B-05022A2B0F2D}"/>
          </ac:spMkLst>
        </pc:spChg>
        <pc:spChg chg="mod">
          <ac:chgData name="Famke van Heeckeren tot Overlaer" userId="96838a5c-d711-4189-832c-a15883880c52" providerId="ADAL" clId="{9A8E7BE0-D6C5-4D42-A2E0-FA075C6708F5}" dt="2024-11-27T16:18:52.212" v="47" actId="1035"/>
          <ac:spMkLst>
            <pc:docMk/>
            <pc:sldMk cId="1329402463" sldId="274"/>
            <ac:spMk id="10" creationId="{0AFA99E9-A936-FEA0-C97B-FC32E5F1AB3D}"/>
          </ac:spMkLst>
        </pc:spChg>
        <pc:picChg chg="add mod modCrop">
          <ac:chgData name="Famke van Heeckeren tot Overlaer" userId="96838a5c-d711-4189-832c-a15883880c52" providerId="ADAL" clId="{9A8E7BE0-D6C5-4D42-A2E0-FA075C6708F5}" dt="2024-11-27T16:12:12.788" v="31" actId="1076"/>
          <ac:picMkLst>
            <pc:docMk/>
            <pc:sldMk cId="1329402463" sldId="274"/>
            <ac:picMk id="3" creationId="{1D63B966-5B67-8691-6C69-A498334994BA}"/>
          </ac:picMkLst>
        </pc:picChg>
      </pc:sldChg>
      <pc:sldChg chg="modSp mod">
        <pc:chgData name="Famke van Heeckeren tot Overlaer" userId="96838a5c-d711-4189-832c-a15883880c52" providerId="ADAL" clId="{9A8E7BE0-D6C5-4D42-A2E0-FA075C6708F5}" dt="2024-11-27T16:07:49.687" v="12" actId="1038"/>
        <pc:sldMkLst>
          <pc:docMk/>
          <pc:sldMk cId="3477824738" sldId="279"/>
        </pc:sldMkLst>
        <pc:spChg chg="mod">
          <ac:chgData name="Famke van Heeckeren tot Overlaer" userId="96838a5c-d711-4189-832c-a15883880c52" providerId="ADAL" clId="{9A8E7BE0-D6C5-4D42-A2E0-FA075C6708F5}" dt="2024-11-27T16:07:49.687" v="12" actId="1038"/>
          <ac:spMkLst>
            <pc:docMk/>
            <pc:sldMk cId="3477824738" sldId="279"/>
            <ac:spMk id="2" creationId="{6C6A25EE-B167-7BC7-D389-7C3601565AEE}"/>
          </ac:spMkLst>
        </pc:spChg>
      </pc:sldChg>
      <pc:sldChg chg="modSp mod">
        <pc:chgData name="Famke van Heeckeren tot Overlaer" userId="96838a5c-d711-4189-832c-a15883880c52" providerId="ADAL" clId="{9A8E7BE0-D6C5-4D42-A2E0-FA075C6708F5}" dt="2024-11-26T13:15:03.176" v="1" actId="20577"/>
        <pc:sldMkLst>
          <pc:docMk/>
          <pc:sldMk cId="3113140432" sldId="293"/>
        </pc:sldMkLst>
        <pc:spChg chg="mod">
          <ac:chgData name="Famke van Heeckeren tot Overlaer" userId="96838a5c-d711-4189-832c-a15883880c52" providerId="ADAL" clId="{9A8E7BE0-D6C5-4D42-A2E0-FA075C6708F5}" dt="2024-11-26T13:15:03.176" v="1" actId="20577"/>
          <ac:spMkLst>
            <pc:docMk/>
            <pc:sldMk cId="3113140432" sldId="293"/>
            <ac:spMk id="10" creationId="{0AFA99E9-A936-FEA0-C97B-FC32E5F1AB3D}"/>
          </ac:spMkLst>
        </pc:spChg>
      </pc:sldChg>
    </pc:docChg>
  </pc:docChgLst>
  <pc:docChgLst>
    <pc:chgData name="Elise Posma" userId="0b5ac1b5-28cd-4814-9a1c-0820a8913ccf" providerId="ADAL" clId="{F8E9E199-6B1F-40EB-A69B-D9F21896AD84}"/>
    <pc:docChg chg="undo custSel addSld delSld modSld">
      <pc:chgData name="Elise Posma" userId="0b5ac1b5-28cd-4814-9a1c-0820a8913ccf" providerId="ADAL" clId="{F8E9E199-6B1F-40EB-A69B-D9F21896AD84}" dt="2024-04-17T14:35:37.978" v="5227" actId="14100"/>
      <pc:docMkLst>
        <pc:docMk/>
      </pc:docMkLst>
      <pc:sldChg chg="modSp mod">
        <pc:chgData name="Elise Posma" userId="0b5ac1b5-28cd-4814-9a1c-0820a8913ccf" providerId="ADAL" clId="{F8E9E199-6B1F-40EB-A69B-D9F21896AD84}" dt="2024-04-17T14:35:37.978" v="5227" actId="14100"/>
        <pc:sldMkLst>
          <pc:docMk/>
          <pc:sldMk cId="2979246287" sldId="258"/>
        </pc:sldMkLst>
        <pc:spChg chg="mod">
          <ac:chgData name="Elise Posma" userId="0b5ac1b5-28cd-4814-9a1c-0820a8913ccf" providerId="ADAL" clId="{F8E9E199-6B1F-40EB-A69B-D9F21896AD84}" dt="2024-04-17T14:35:37.978" v="5227" actId="14100"/>
          <ac:spMkLst>
            <pc:docMk/>
            <pc:sldMk cId="2979246287" sldId="258"/>
            <ac:spMk id="8" creationId="{6189840A-674E-1182-65C7-A7C014F02347}"/>
          </ac:spMkLst>
        </pc:spChg>
      </pc:sldChg>
      <pc:sldChg chg="modSp mod modNotesTx">
        <pc:chgData name="Elise Posma" userId="0b5ac1b5-28cd-4814-9a1c-0820a8913ccf" providerId="ADAL" clId="{F8E9E199-6B1F-40EB-A69B-D9F21896AD84}" dt="2024-04-17T14:35:11.027" v="5225" actId="5793"/>
        <pc:sldMkLst>
          <pc:docMk/>
          <pc:sldMk cId="2326729184" sldId="267"/>
        </pc:sldMkLst>
        <pc:picChg chg="mod">
          <ac:chgData name="Elise Posma" userId="0b5ac1b5-28cd-4814-9a1c-0820a8913ccf" providerId="ADAL" clId="{F8E9E199-6B1F-40EB-A69B-D9F21896AD84}" dt="2024-04-17T14:34:11.511" v="5201" actId="1076"/>
          <ac:picMkLst>
            <pc:docMk/>
            <pc:sldMk cId="2326729184" sldId="267"/>
            <ac:picMk id="2" creationId="{9395E5BF-909E-7345-6247-BF13ACECACDA}"/>
          </ac:picMkLst>
        </pc:picChg>
      </pc:sldChg>
      <pc:sldChg chg="delSp modSp mod modNotesTx">
        <pc:chgData name="Elise Posma" userId="0b5ac1b5-28cd-4814-9a1c-0820a8913ccf" providerId="ADAL" clId="{F8E9E199-6B1F-40EB-A69B-D9F21896AD84}" dt="2024-04-17T12:43:19.566" v="2572" actId="2710"/>
        <pc:sldMkLst>
          <pc:docMk/>
          <pc:sldMk cId="139439553" sldId="271"/>
        </pc:sldMkLst>
        <pc:spChg chg="mod">
          <ac:chgData name="Elise Posma" userId="0b5ac1b5-28cd-4814-9a1c-0820a8913ccf" providerId="ADAL" clId="{F8E9E199-6B1F-40EB-A69B-D9F21896AD84}" dt="2024-04-17T12:43:19.566" v="2572" actId="2710"/>
          <ac:spMkLst>
            <pc:docMk/>
            <pc:sldMk cId="139439553" sldId="271"/>
            <ac:spMk id="10" creationId="{0AFA99E9-A936-FEA0-C97B-FC32E5F1AB3D}"/>
          </ac:spMkLst>
        </pc:spChg>
        <pc:picChg chg="del">
          <ac:chgData name="Elise Posma" userId="0b5ac1b5-28cd-4814-9a1c-0820a8913ccf" providerId="ADAL" clId="{F8E9E199-6B1F-40EB-A69B-D9F21896AD84}" dt="2024-04-17T10:56:44.629" v="180" actId="21"/>
          <ac:picMkLst>
            <pc:docMk/>
            <pc:sldMk cId="139439553" sldId="271"/>
            <ac:picMk id="2" creationId="{A1E35B7C-E15B-67C8-01CB-F6264FA1957D}"/>
          </ac:picMkLst>
        </pc:picChg>
        <pc:picChg chg="del">
          <ac:chgData name="Elise Posma" userId="0b5ac1b5-28cd-4814-9a1c-0820a8913ccf" providerId="ADAL" clId="{F8E9E199-6B1F-40EB-A69B-D9F21896AD84}" dt="2024-04-17T10:56:43.305" v="179" actId="478"/>
          <ac:picMkLst>
            <pc:docMk/>
            <pc:sldMk cId="139439553" sldId="271"/>
            <ac:picMk id="4" creationId="{A591CEA0-E050-C84C-29BB-94A5F7A3BA8D}"/>
          </ac:picMkLst>
        </pc:picChg>
      </pc:sldChg>
      <pc:sldChg chg="modSp mod modNotesTx">
        <pc:chgData name="Elise Posma" userId="0b5ac1b5-28cd-4814-9a1c-0820a8913ccf" providerId="ADAL" clId="{F8E9E199-6B1F-40EB-A69B-D9F21896AD84}" dt="2024-04-17T14:22:18.026" v="4726"/>
        <pc:sldMkLst>
          <pc:docMk/>
          <pc:sldMk cId="1504154189" sldId="272"/>
        </pc:sldMkLst>
        <pc:spChg chg="mod">
          <ac:chgData name="Elise Posma" userId="0b5ac1b5-28cd-4814-9a1c-0820a8913ccf" providerId="ADAL" clId="{F8E9E199-6B1F-40EB-A69B-D9F21896AD84}" dt="2024-04-17T13:53:58.320" v="4675"/>
          <ac:spMkLst>
            <pc:docMk/>
            <pc:sldMk cId="1504154189" sldId="272"/>
            <ac:spMk id="3" creationId="{C3129326-1AB9-55C0-5C47-433DDBBB5426}"/>
          </ac:spMkLst>
        </pc:spChg>
      </pc:sldChg>
      <pc:sldChg chg="modSp mod modNotesTx">
        <pc:chgData name="Elise Posma" userId="0b5ac1b5-28cd-4814-9a1c-0820a8913ccf" providerId="ADAL" clId="{F8E9E199-6B1F-40EB-A69B-D9F21896AD84}" dt="2024-04-17T13:18:54.055" v="3358" actId="6549"/>
        <pc:sldMkLst>
          <pc:docMk/>
          <pc:sldMk cId="2001649844" sldId="273"/>
        </pc:sldMkLst>
        <pc:spChg chg="mod">
          <ac:chgData name="Elise Posma" userId="0b5ac1b5-28cd-4814-9a1c-0820a8913ccf" providerId="ADAL" clId="{F8E9E199-6B1F-40EB-A69B-D9F21896AD84}" dt="2024-04-17T12:43:04.154" v="2569" actId="2710"/>
          <ac:spMkLst>
            <pc:docMk/>
            <pc:sldMk cId="2001649844" sldId="273"/>
            <ac:spMk id="3" creationId="{415CF7FC-3BC3-7FA5-6ACE-F1152CEC6B30}"/>
          </ac:spMkLst>
        </pc:spChg>
        <pc:picChg chg="mod">
          <ac:chgData name="Elise Posma" userId="0b5ac1b5-28cd-4814-9a1c-0820a8913ccf" providerId="ADAL" clId="{F8E9E199-6B1F-40EB-A69B-D9F21896AD84}" dt="2024-04-17T11:40:15.625" v="1768" actId="1076"/>
          <ac:picMkLst>
            <pc:docMk/>
            <pc:sldMk cId="2001649844" sldId="273"/>
            <ac:picMk id="10" creationId="{BECE2B37-A7D4-DE1D-F3DC-BAEAF96DE294}"/>
          </ac:picMkLst>
        </pc:picChg>
      </pc:sldChg>
      <pc:sldChg chg="modSp mod modNotesTx">
        <pc:chgData name="Elise Posma" userId="0b5ac1b5-28cd-4814-9a1c-0820a8913ccf" providerId="ADAL" clId="{F8E9E199-6B1F-40EB-A69B-D9F21896AD84}" dt="2024-04-17T14:22:47.275" v="4731" actId="6549"/>
        <pc:sldMkLst>
          <pc:docMk/>
          <pc:sldMk cId="1329402463" sldId="274"/>
        </pc:sldMkLst>
        <pc:spChg chg="mod">
          <ac:chgData name="Elise Posma" userId="0b5ac1b5-28cd-4814-9a1c-0820a8913ccf" providerId="ADAL" clId="{F8E9E199-6B1F-40EB-A69B-D9F21896AD84}" dt="2024-04-17T14:22:47.275" v="4731" actId="6549"/>
          <ac:spMkLst>
            <pc:docMk/>
            <pc:sldMk cId="1329402463" sldId="274"/>
            <ac:spMk id="10" creationId="{0AFA99E9-A936-FEA0-C97B-FC32E5F1AB3D}"/>
          </ac:spMkLst>
        </pc:spChg>
      </pc:sldChg>
      <pc:sldChg chg="modSp mod modNotesTx">
        <pc:chgData name="Elise Posma" userId="0b5ac1b5-28cd-4814-9a1c-0820a8913ccf" providerId="ADAL" clId="{F8E9E199-6B1F-40EB-A69B-D9F21896AD84}" dt="2024-04-17T13:50:53.270" v="4661" actId="20577"/>
        <pc:sldMkLst>
          <pc:docMk/>
          <pc:sldMk cId="3748225533" sldId="275"/>
        </pc:sldMkLst>
        <pc:spChg chg="mod">
          <ac:chgData name="Elise Posma" userId="0b5ac1b5-28cd-4814-9a1c-0820a8913ccf" providerId="ADAL" clId="{F8E9E199-6B1F-40EB-A69B-D9F21896AD84}" dt="2024-04-17T13:50:53.270" v="4661" actId="20577"/>
          <ac:spMkLst>
            <pc:docMk/>
            <pc:sldMk cId="3748225533" sldId="275"/>
            <ac:spMk id="10" creationId="{0AFA99E9-A936-FEA0-C97B-FC32E5F1AB3D}"/>
          </ac:spMkLst>
        </pc:spChg>
      </pc:sldChg>
      <pc:sldChg chg="modSp mod">
        <pc:chgData name="Elise Posma" userId="0b5ac1b5-28cd-4814-9a1c-0820a8913ccf" providerId="ADAL" clId="{F8E9E199-6B1F-40EB-A69B-D9F21896AD84}" dt="2024-04-17T13:34:08.631" v="4473" actId="14100"/>
        <pc:sldMkLst>
          <pc:docMk/>
          <pc:sldMk cId="2310427119" sldId="276"/>
        </pc:sldMkLst>
        <pc:spChg chg="mod">
          <ac:chgData name="Elise Posma" userId="0b5ac1b5-28cd-4814-9a1c-0820a8913ccf" providerId="ADAL" clId="{F8E9E199-6B1F-40EB-A69B-D9F21896AD84}" dt="2024-04-17T13:34:08.631" v="4473" actId="14100"/>
          <ac:spMkLst>
            <pc:docMk/>
            <pc:sldMk cId="2310427119" sldId="276"/>
            <ac:spMk id="10" creationId="{0AFA99E9-A936-FEA0-C97B-FC32E5F1AB3D}"/>
          </ac:spMkLst>
        </pc:spChg>
      </pc:sldChg>
      <pc:sldChg chg="addSp delSp modSp mod modNotesTx">
        <pc:chgData name="Elise Posma" userId="0b5ac1b5-28cd-4814-9a1c-0820a8913ccf" providerId="ADAL" clId="{F8E9E199-6B1F-40EB-A69B-D9F21896AD84}" dt="2024-04-17T12:45:27.859" v="2675" actId="6549"/>
        <pc:sldMkLst>
          <pc:docMk/>
          <pc:sldMk cId="78620943" sldId="277"/>
        </pc:sldMkLst>
        <pc:spChg chg="add mod">
          <ac:chgData name="Elise Posma" userId="0b5ac1b5-28cd-4814-9a1c-0820a8913ccf" providerId="ADAL" clId="{F8E9E199-6B1F-40EB-A69B-D9F21896AD84}" dt="2024-04-17T12:45:27.859" v="2675" actId="6549"/>
          <ac:spMkLst>
            <pc:docMk/>
            <pc:sldMk cId="78620943" sldId="277"/>
            <ac:spMk id="2" creationId="{F82BF295-56C7-8388-592E-9A77F8203A39}"/>
          </ac:spMkLst>
        </pc:spChg>
        <pc:spChg chg="del mod">
          <ac:chgData name="Elise Posma" userId="0b5ac1b5-28cd-4814-9a1c-0820a8913ccf" providerId="ADAL" clId="{F8E9E199-6B1F-40EB-A69B-D9F21896AD84}" dt="2024-04-17T11:43:58.886" v="2036"/>
          <ac:spMkLst>
            <pc:docMk/>
            <pc:sldMk cId="78620943" sldId="277"/>
            <ac:spMk id="3" creationId="{415CF7FC-3BC3-7FA5-6ACE-F1152CEC6B30}"/>
          </ac:spMkLst>
        </pc:spChg>
        <pc:spChg chg="mod">
          <ac:chgData name="Elise Posma" userId="0b5ac1b5-28cd-4814-9a1c-0820a8913ccf" providerId="ADAL" clId="{F8E9E199-6B1F-40EB-A69B-D9F21896AD84}" dt="2024-04-17T12:42:21.954" v="2564" actId="20577"/>
          <ac:spMkLst>
            <pc:docMk/>
            <pc:sldMk cId="78620943" sldId="277"/>
            <ac:spMk id="7" creationId="{0EDF6B68-DA54-2986-D44B-05022A2B0F2D}"/>
          </ac:spMkLst>
        </pc:spChg>
      </pc:sldChg>
      <pc:sldChg chg="addSp delSp modSp add mod modNotesTx">
        <pc:chgData name="Elise Posma" userId="0b5ac1b5-28cd-4814-9a1c-0820a8913ccf" providerId="ADAL" clId="{F8E9E199-6B1F-40EB-A69B-D9F21896AD84}" dt="2024-04-17T12:43:13.824" v="2571" actId="1076"/>
        <pc:sldMkLst>
          <pc:docMk/>
          <pc:sldMk cId="556879563" sldId="278"/>
        </pc:sldMkLst>
        <pc:spChg chg="mod">
          <ac:chgData name="Elise Posma" userId="0b5ac1b5-28cd-4814-9a1c-0820a8913ccf" providerId="ADAL" clId="{F8E9E199-6B1F-40EB-A69B-D9F21896AD84}" dt="2024-04-17T12:43:13.824" v="2571" actId="1076"/>
          <ac:spMkLst>
            <pc:docMk/>
            <pc:sldMk cId="556879563" sldId="278"/>
            <ac:spMk id="3" creationId="{415CF7FC-3BC3-7FA5-6ACE-F1152CEC6B30}"/>
          </ac:spMkLst>
        </pc:spChg>
        <pc:spChg chg="mod">
          <ac:chgData name="Elise Posma" userId="0b5ac1b5-28cd-4814-9a1c-0820a8913ccf" providerId="ADAL" clId="{F8E9E199-6B1F-40EB-A69B-D9F21896AD84}" dt="2024-04-17T11:05:50.940" v="317" actId="6549"/>
          <ac:spMkLst>
            <pc:docMk/>
            <pc:sldMk cId="556879563" sldId="278"/>
            <ac:spMk id="7" creationId="{0EDF6B68-DA54-2986-D44B-05022A2B0F2D}"/>
          </ac:spMkLst>
        </pc:spChg>
        <pc:picChg chg="add mod">
          <ac:chgData name="Elise Posma" userId="0b5ac1b5-28cd-4814-9a1c-0820a8913ccf" providerId="ADAL" clId="{F8E9E199-6B1F-40EB-A69B-D9F21896AD84}" dt="2024-04-17T10:56:55.257" v="183" actId="1076"/>
          <ac:picMkLst>
            <pc:docMk/>
            <pc:sldMk cId="556879563" sldId="278"/>
            <ac:picMk id="2" creationId="{A1E35B7C-E15B-67C8-01CB-F6264FA1957D}"/>
          </ac:picMkLst>
        </pc:picChg>
        <pc:picChg chg="del">
          <ac:chgData name="Elise Posma" userId="0b5ac1b5-28cd-4814-9a1c-0820a8913ccf" providerId="ADAL" clId="{F8E9E199-6B1F-40EB-A69B-D9F21896AD84}" dt="2024-04-17T10:49:45.607" v="28" actId="478"/>
          <ac:picMkLst>
            <pc:docMk/>
            <pc:sldMk cId="556879563" sldId="278"/>
            <ac:picMk id="10" creationId="{BECE2B37-A7D4-DE1D-F3DC-BAEAF96DE294}"/>
          </ac:picMkLst>
        </pc:picChg>
      </pc:sldChg>
      <pc:sldChg chg="addSp modSp add mod modNotesTx">
        <pc:chgData name="Elise Posma" userId="0b5ac1b5-28cd-4814-9a1c-0820a8913ccf" providerId="ADAL" clId="{F8E9E199-6B1F-40EB-A69B-D9F21896AD84}" dt="2024-04-17T11:27:55.944" v="1349" actId="20577"/>
        <pc:sldMkLst>
          <pc:docMk/>
          <pc:sldMk cId="3477824738" sldId="279"/>
        </pc:sldMkLst>
        <pc:spChg chg="add mod">
          <ac:chgData name="Elise Posma" userId="0b5ac1b5-28cd-4814-9a1c-0820a8913ccf" providerId="ADAL" clId="{F8E9E199-6B1F-40EB-A69B-D9F21896AD84}" dt="2024-04-17T11:27:55.944" v="1349" actId="20577"/>
          <ac:spMkLst>
            <pc:docMk/>
            <pc:sldMk cId="3477824738" sldId="279"/>
            <ac:spMk id="2" creationId="{6C6A25EE-B167-7BC7-D389-7C3601565AEE}"/>
          </ac:spMkLst>
        </pc:spChg>
        <pc:spChg chg="mod">
          <ac:chgData name="Elise Posma" userId="0b5ac1b5-28cd-4814-9a1c-0820a8913ccf" providerId="ADAL" clId="{F8E9E199-6B1F-40EB-A69B-D9F21896AD84}" dt="2024-04-17T11:08:56.803" v="406" actId="6549"/>
          <ac:spMkLst>
            <pc:docMk/>
            <pc:sldMk cId="3477824738" sldId="279"/>
            <ac:spMk id="7" creationId="{0EDF6B68-DA54-2986-D44B-05022A2B0F2D}"/>
          </ac:spMkLst>
        </pc:spChg>
        <pc:spChg chg="mod">
          <ac:chgData name="Elise Posma" userId="0b5ac1b5-28cd-4814-9a1c-0820a8913ccf" providerId="ADAL" clId="{F8E9E199-6B1F-40EB-A69B-D9F21896AD84}" dt="2024-04-17T11:05:43.138" v="316" actId="6549"/>
          <ac:spMkLst>
            <pc:docMk/>
            <pc:sldMk cId="3477824738" sldId="279"/>
            <ac:spMk id="10" creationId="{0AFA99E9-A936-FEA0-C97B-FC32E5F1AB3D}"/>
          </ac:spMkLst>
        </pc:spChg>
      </pc:sldChg>
      <pc:sldChg chg="modSp add mod modNotesTx">
        <pc:chgData name="Elise Posma" userId="0b5ac1b5-28cd-4814-9a1c-0820a8913ccf" providerId="ADAL" clId="{F8E9E199-6B1F-40EB-A69B-D9F21896AD84}" dt="2024-04-17T14:33:03.518" v="5183" actId="313"/>
        <pc:sldMkLst>
          <pc:docMk/>
          <pc:sldMk cId="1126675768" sldId="280"/>
        </pc:sldMkLst>
        <pc:spChg chg="mod">
          <ac:chgData name="Elise Posma" userId="0b5ac1b5-28cd-4814-9a1c-0820a8913ccf" providerId="ADAL" clId="{F8E9E199-6B1F-40EB-A69B-D9F21896AD84}" dt="2024-04-17T13:54:40.750" v="4700" actId="20577"/>
          <ac:spMkLst>
            <pc:docMk/>
            <pc:sldMk cId="1126675768" sldId="280"/>
            <ac:spMk id="3" creationId="{415CF7FC-3BC3-7FA5-6ACE-F1152CEC6B30}"/>
          </ac:spMkLst>
        </pc:spChg>
        <pc:spChg chg="mod">
          <ac:chgData name="Elise Posma" userId="0b5ac1b5-28cd-4814-9a1c-0820a8913ccf" providerId="ADAL" clId="{F8E9E199-6B1F-40EB-A69B-D9F21896AD84}" dt="2024-04-17T11:51:01.795" v="2452" actId="20577"/>
          <ac:spMkLst>
            <pc:docMk/>
            <pc:sldMk cId="1126675768" sldId="280"/>
            <ac:spMk id="7" creationId="{0EDF6B68-DA54-2986-D44B-05022A2B0F2D}"/>
          </ac:spMkLst>
        </pc:spChg>
      </pc:sldChg>
      <pc:sldChg chg="modSp add mod modNotesTx">
        <pc:chgData name="Elise Posma" userId="0b5ac1b5-28cd-4814-9a1c-0820a8913ccf" providerId="ADAL" clId="{F8E9E199-6B1F-40EB-A69B-D9F21896AD84}" dt="2024-04-17T14:14:26.679" v="4725" actId="20577"/>
        <pc:sldMkLst>
          <pc:docMk/>
          <pc:sldMk cId="472608649" sldId="281"/>
        </pc:sldMkLst>
        <pc:spChg chg="mod">
          <ac:chgData name="Elise Posma" userId="0b5ac1b5-28cd-4814-9a1c-0820a8913ccf" providerId="ADAL" clId="{F8E9E199-6B1F-40EB-A69B-D9F21896AD84}" dt="2024-04-17T14:14:26.679" v="4725" actId="20577"/>
          <ac:spMkLst>
            <pc:docMk/>
            <pc:sldMk cId="472608649" sldId="281"/>
            <ac:spMk id="10" creationId="{0AFA99E9-A936-FEA0-C97B-FC32E5F1AB3D}"/>
          </ac:spMkLst>
        </pc:spChg>
      </pc:sldChg>
      <pc:sldChg chg="modSp add mod modNotesTx">
        <pc:chgData name="Elise Posma" userId="0b5ac1b5-28cd-4814-9a1c-0820a8913ccf" providerId="ADAL" clId="{F8E9E199-6B1F-40EB-A69B-D9F21896AD84}" dt="2024-04-17T14:23:11.524" v="4759" actId="20577"/>
        <pc:sldMkLst>
          <pc:docMk/>
          <pc:sldMk cId="742450582" sldId="282"/>
        </pc:sldMkLst>
        <pc:spChg chg="mod">
          <ac:chgData name="Elise Posma" userId="0b5ac1b5-28cd-4814-9a1c-0820a8913ccf" providerId="ADAL" clId="{F8E9E199-6B1F-40EB-A69B-D9F21896AD84}" dt="2024-04-17T14:23:11.524" v="4759" actId="20577"/>
          <ac:spMkLst>
            <pc:docMk/>
            <pc:sldMk cId="742450582" sldId="282"/>
            <ac:spMk id="10" creationId="{0AFA99E9-A936-FEA0-C97B-FC32E5F1AB3D}"/>
          </ac:spMkLst>
        </pc:spChg>
      </pc:sldChg>
      <pc:sldChg chg="add del">
        <pc:chgData name="Elise Posma" userId="0b5ac1b5-28cd-4814-9a1c-0820a8913ccf" providerId="ADAL" clId="{F8E9E199-6B1F-40EB-A69B-D9F21896AD84}" dt="2024-04-17T13:29:21.107" v="3943" actId="47"/>
        <pc:sldMkLst>
          <pc:docMk/>
          <pc:sldMk cId="763551390" sldId="283"/>
        </pc:sldMkLst>
      </pc:sldChg>
      <pc:sldChg chg="modSp add mod modNotesTx">
        <pc:chgData name="Elise Posma" userId="0b5ac1b5-28cd-4814-9a1c-0820a8913ccf" providerId="ADAL" clId="{F8E9E199-6B1F-40EB-A69B-D9F21896AD84}" dt="2024-04-17T13:51:36.882" v="4668"/>
        <pc:sldMkLst>
          <pc:docMk/>
          <pc:sldMk cId="4242541050" sldId="284"/>
        </pc:sldMkLst>
        <pc:spChg chg="mod">
          <ac:chgData name="Elise Posma" userId="0b5ac1b5-28cd-4814-9a1c-0820a8913ccf" providerId="ADAL" clId="{F8E9E199-6B1F-40EB-A69B-D9F21896AD84}" dt="2024-04-17T13:49:38.144" v="4655" actId="20577"/>
          <ac:spMkLst>
            <pc:docMk/>
            <pc:sldMk cId="4242541050" sldId="284"/>
            <ac:spMk id="10" creationId="{0AFA99E9-A936-FEA0-C97B-FC32E5F1AB3D}"/>
          </ac:spMkLst>
        </pc:spChg>
      </pc:sldChg>
      <pc:sldChg chg="addSp delSp modSp add mod">
        <pc:chgData name="Elise Posma" userId="0b5ac1b5-28cd-4814-9a1c-0820a8913ccf" providerId="ADAL" clId="{F8E9E199-6B1F-40EB-A69B-D9F21896AD84}" dt="2024-04-17T13:35:57.888" v="4563" actId="20577"/>
        <pc:sldMkLst>
          <pc:docMk/>
          <pc:sldMk cId="3292976871" sldId="285"/>
        </pc:sldMkLst>
        <pc:spChg chg="add mod">
          <ac:chgData name="Elise Posma" userId="0b5ac1b5-28cd-4814-9a1c-0820a8913ccf" providerId="ADAL" clId="{F8E9E199-6B1F-40EB-A69B-D9F21896AD84}" dt="2024-04-17T13:35:57.888" v="4563" actId="20577"/>
          <ac:spMkLst>
            <pc:docMk/>
            <pc:sldMk cId="3292976871" sldId="285"/>
            <ac:spMk id="2" creationId="{09AB7878-7A42-9699-FE6F-ED465CA7371F}"/>
          </ac:spMkLst>
        </pc:spChg>
        <pc:spChg chg="mod">
          <ac:chgData name="Elise Posma" userId="0b5ac1b5-28cd-4814-9a1c-0820a8913ccf" providerId="ADAL" clId="{F8E9E199-6B1F-40EB-A69B-D9F21896AD84}" dt="2024-04-17T13:35:36.846" v="4507" actId="1076"/>
          <ac:spMkLst>
            <pc:docMk/>
            <pc:sldMk cId="3292976871" sldId="285"/>
            <ac:spMk id="7" creationId="{0EDF6B68-DA54-2986-D44B-05022A2B0F2D}"/>
          </ac:spMkLst>
        </pc:spChg>
        <pc:spChg chg="del mod">
          <ac:chgData name="Elise Posma" userId="0b5ac1b5-28cd-4814-9a1c-0820a8913ccf" providerId="ADAL" clId="{F8E9E199-6B1F-40EB-A69B-D9F21896AD84}" dt="2024-04-17T13:34:44.720" v="4489" actId="478"/>
          <ac:spMkLst>
            <pc:docMk/>
            <pc:sldMk cId="3292976871" sldId="285"/>
            <ac:spMk id="12" creationId="{3F5A8134-E7D5-CE49-8A49-368D6389E008}"/>
          </ac:spMkLst>
        </pc:spChg>
      </pc:sldChg>
    </pc:docChg>
  </pc:docChgLst>
  <pc:docChgLst>
    <pc:chgData name="Elise Posma" userId="S::e.posma@pznl.nl::0b5ac1b5-28cd-4814-9a1c-0820a8913ccf" providerId="AD" clId="Web-{662FB990-A382-A9DA-5043-D458F023116A}"/>
    <pc:docChg chg="modSld">
      <pc:chgData name="Elise Posma" userId="S::e.posma@pznl.nl::0b5ac1b5-28cd-4814-9a1c-0820a8913ccf" providerId="AD" clId="Web-{662FB990-A382-A9DA-5043-D458F023116A}" dt="2024-06-12T13:27:20.354" v="3" actId="14100"/>
      <pc:docMkLst>
        <pc:docMk/>
      </pc:docMkLst>
      <pc:sldChg chg="modSp">
        <pc:chgData name="Elise Posma" userId="S::e.posma@pznl.nl::0b5ac1b5-28cd-4814-9a1c-0820a8913ccf" providerId="AD" clId="Web-{662FB990-A382-A9DA-5043-D458F023116A}" dt="2024-06-12T13:27:20.354" v="3" actId="14100"/>
        <pc:sldMkLst>
          <pc:docMk/>
          <pc:sldMk cId="1887405701" sldId="286"/>
        </pc:sldMkLst>
        <pc:spChg chg="mod">
          <ac:chgData name="Elise Posma" userId="S::e.posma@pznl.nl::0b5ac1b5-28cd-4814-9a1c-0820a8913ccf" providerId="AD" clId="Web-{662FB990-A382-A9DA-5043-D458F023116A}" dt="2024-06-12T13:27:20.354" v="3" actId="14100"/>
          <ac:spMkLst>
            <pc:docMk/>
            <pc:sldMk cId="1887405701" sldId="286"/>
            <ac:spMk id="10" creationId="{0AFA99E9-A936-FEA0-C97B-FC32E5F1AB3D}"/>
          </ac:spMkLst>
        </pc:spChg>
      </pc:sldChg>
    </pc:docChg>
  </pc:docChgLst>
  <pc:docChgLst>
    <pc:chgData name="Elise Posma" userId="0b5ac1b5-28cd-4814-9a1c-0820a8913ccf" providerId="ADAL" clId="{CDF59504-DA76-4B9E-83BE-AA8DB3565514}"/>
    <pc:docChg chg="modSld">
      <pc:chgData name="Elise Posma" userId="0b5ac1b5-28cd-4814-9a1c-0820a8913ccf" providerId="ADAL" clId="{CDF59504-DA76-4B9E-83BE-AA8DB3565514}" dt="2024-12-02T14:57:55.341" v="4" actId="1076"/>
      <pc:docMkLst>
        <pc:docMk/>
      </pc:docMkLst>
      <pc:sldChg chg="modSp mod">
        <pc:chgData name="Elise Posma" userId="0b5ac1b5-28cd-4814-9a1c-0820a8913ccf" providerId="ADAL" clId="{CDF59504-DA76-4B9E-83BE-AA8DB3565514}" dt="2024-12-02T14:57:55.341" v="4" actId="1076"/>
        <pc:sldMkLst>
          <pc:docMk/>
          <pc:sldMk cId="3113140432" sldId="293"/>
        </pc:sldMkLst>
        <pc:spChg chg="mod">
          <ac:chgData name="Elise Posma" userId="0b5ac1b5-28cd-4814-9a1c-0820a8913ccf" providerId="ADAL" clId="{CDF59504-DA76-4B9E-83BE-AA8DB3565514}" dt="2024-12-02T14:57:41.696" v="1" actId="20577"/>
          <ac:spMkLst>
            <pc:docMk/>
            <pc:sldMk cId="3113140432" sldId="293"/>
            <ac:spMk id="10" creationId="{0AFA99E9-A936-FEA0-C97B-FC32E5F1AB3D}"/>
          </ac:spMkLst>
        </pc:spChg>
        <pc:picChg chg="mod">
          <ac:chgData name="Elise Posma" userId="0b5ac1b5-28cd-4814-9a1c-0820a8913ccf" providerId="ADAL" clId="{CDF59504-DA76-4B9E-83BE-AA8DB3565514}" dt="2024-12-02T14:57:55.341" v="4" actId="1076"/>
          <ac:picMkLst>
            <pc:docMk/>
            <pc:sldMk cId="3113140432" sldId="293"/>
            <ac:picMk id="2" creationId="{4E2CE384-523A-237E-3583-0107EDB0AAF1}"/>
          </ac:picMkLst>
        </pc:picChg>
      </pc:sldChg>
    </pc:docChg>
  </pc:docChgLst>
  <pc:docChgLst>
    <pc:chgData name="Famke van Heeckeren tot Overlaer" userId="96838a5c-d711-4189-832c-a15883880c52" providerId="ADAL" clId="{65888D20-A79E-4CA1-9576-C963116B6AC1}"/>
    <pc:docChg chg="custSel addSld modSld">
      <pc:chgData name="Famke van Heeckeren tot Overlaer" userId="96838a5c-d711-4189-832c-a15883880c52" providerId="ADAL" clId="{65888D20-A79E-4CA1-9576-C963116B6AC1}" dt="2024-10-21T14:57:20.451" v="67" actId="313"/>
      <pc:docMkLst>
        <pc:docMk/>
      </pc:docMkLst>
      <pc:sldChg chg="modSp mod modNotesTx">
        <pc:chgData name="Famke van Heeckeren tot Overlaer" userId="96838a5c-d711-4189-832c-a15883880c52" providerId="ADAL" clId="{65888D20-A79E-4CA1-9576-C963116B6AC1}" dt="2024-10-14T07:34:21.774" v="5" actId="20577"/>
        <pc:sldMkLst>
          <pc:docMk/>
          <pc:sldMk cId="2001649844" sldId="273"/>
        </pc:sldMkLst>
        <pc:spChg chg="mod">
          <ac:chgData name="Famke van Heeckeren tot Overlaer" userId="96838a5c-d711-4189-832c-a15883880c52" providerId="ADAL" clId="{65888D20-A79E-4CA1-9576-C963116B6AC1}" dt="2024-10-14T07:34:16.070" v="2" actId="20577"/>
          <ac:spMkLst>
            <pc:docMk/>
            <pc:sldMk cId="2001649844" sldId="273"/>
            <ac:spMk id="3" creationId="{415CF7FC-3BC3-7FA5-6ACE-F1152CEC6B30}"/>
          </ac:spMkLst>
        </pc:spChg>
      </pc:sldChg>
      <pc:sldChg chg="modSp mod">
        <pc:chgData name="Famke van Heeckeren tot Overlaer" userId="96838a5c-d711-4189-832c-a15883880c52" providerId="ADAL" clId="{65888D20-A79E-4CA1-9576-C963116B6AC1}" dt="2024-10-14T07:34:42.108" v="8" actId="20577"/>
        <pc:sldMkLst>
          <pc:docMk/>
          <pc:sldMk cId="1126675768" sldId="280"/>
        </pc:sldMkLst>
        <pc:spChg chg="mod">
          <ac:chgData name="Famke van Heeckeren tot Overlaer" userId="96838a5c-d711-4189-832c-a15883880c52" providerId="ADAL" clId="{65888D20-A79E-4CA1-9576-C963116B6AC1}" dt="2024-10-14T07:34:42.108" v="8" actId="20577"/>
          <ac:spMkLst>
            <pc:docMk/>
            <pc:sldMk cId="1126675768" sldId="280"/>
            <ac:spMk id="3" creationId="{415CF7FC-3BC3-7FA5-6ACE-F1152CEC6B30}"/>
          </ac:spMkLst>
        </pc:spChg>
      </pc:sldChg>
      <pc:sldChg chg="modSp mod">
        <pc:chgData name="Famke van Heeckeren tot Overlaer" userId="96838a5c-d711-4189-832c-a15883880c52" providerId="ADAL" clId="{65888D20-A79E-4CA1-9576-C963116B6AC1}" dt="2024-10-14T07:35:51.597" v="14" actId="20577"/>
        <pc:sldMkLst>
          <pc:docMk/>
          <pc:sldMk cId="742450582" sldId="282"/>
        </pc:sldMkLst>
        <pc:spChg chg="mod">
          <ac:chgData name="Famke van Heeckeren tot Overlaer" userId="96838a5c-d711-4189-832c-a15883880c52" providerId="ADAL" clId="{65888D20-A79E-4CA1-9576-C963116B6AC1}" dt="2024-10-14T07:35:51.597" v="14" actId="20577"/>
          <ac:spMkLst>
            <pc:docMk/>
            <pc:sldMk cId="742450582" sldId="282"/>
            <ac:spMk id="10" creationId="{0AFA99E9-A936-FEA0-C97B-FC32E5F1AB3D}"/>
          </ac:spMkLst>
        </pc:spChg>
      </pc:sldChg>
      <pc:sldChg chg="add modNotesTx">
        <pc:chgData name="Famke van Heeckeren tot Overlaer" userId="96838a5c-d711-4189-832c-a15883880c52" providerId="ADAL" clId="{65888D20-A79E-4CA1-9576-C963116B6AC1}" dt="2024-10-21T14:57:20.451" v="67" actId="313"/>
        <pc:sldMkLst>
          <pc:docMk/>
          <pc:sldMk cId="3113140432" sldId="293"/>
        </pc:sldMkLst>
      </pc:sldChg>
    </pc:docChg>
  </pc:docChgLst>
  <pc:docChgLst>
    <pc:chgData name="Elise Posma" userId="S::e.posma@pznl.nl::0b5ac1b5-28cd-4814-9a1c-0820a8913ccf" providerId="AD" clId="Web-{91C808D1-2986-27CE-969B-332109D242D6}"/>
    <pc:docChg chg="modSld">
      <pc:chgData name="Elise Posma" userId="S::e.posma@pznl.nl::0b5ac1b5-28cd-4814-9a1c-0820a8913ccf" providerId="AD" clId="Web-{91C808D1-2986-27CE-969B-332109D242D6}" dt="2024-05-15T07:33:36.166" v="28"/>
      <pc:docMkLst>
        <pc:docMk/>
      </pc:docMkLst>
      <pc:sldChg chg="modSp modNotes">
        <pc:chgData name="Elise Posma" userId="S::e.posma@pznl.nl::0b5ac1b5-28cd-4814-9a1c-0820a8913ccf" providerId="AD" clId="Web-{91C808D1-2986-27CE-969B-332109D242D6}" dt="2024-05-15T07:31:49.361" v="26" actId="20577"/>
        <pc:sldMkLst>
          <pc:docMk/>
          <pc:sldMk cId="1329402463" sldId="274"/>
        </pc:sldMkLst>
        <pc:spChg chg="mod">
          <ac:chgData name="Elise Posma" userId="S::e.posma@pznl.nl::0b5ac1b5-28cd-4814-9a1c-0820a8913ccf" providerId="AD" clId="Web-{91C808D1-2986-27CE-969B-332109D242D6}" dt="2024-05-15T07:31:49.361" v="26" actId="20577"/>
          <ac:spMkLst>
            <pc:docMk/>
            <pc:sldMk cId="1329402463" sldId="274"/>
            <ac:spMk id="10" creationId="{0AFA99E9-A936-FEA0-C97B-FC32E5F1AB3D}"/>
          </ac:spMkLst>
        </pc:spChg>
      </pc:sldChg>
      <pc:sldChg chg="modSp modNotes">
        <pc:chgData name="Elise Posma" userId="S::e.posma@pznl.nl::0b5ac1b5-28cd-4814-9a1c-0820a8913ccf" providerId="AD" clId="Web-{91C808D1-2986-27CE-969B-332109D242D6}" dt="2024-05-15T07:20:53.751" v="20"/>
        <pc:sldMkLst>
          <pc:docMk/>
          <pc:sldMk cId="3748225533" sldId="275"/>
        </pc:sldMkLst>
        <pc:spChg chg="mod">
          <ac:chgData name="Elise Posma" userId="S::e.posma@pznl.nl::0b5ac1b5-28cd-4814-9a1c-0820a8913ccf" providerId="AD" clId="Web-{91C808D1-2986-27CE-969B-332109D242D6}" dt="2024-05-15T07:20:38.141" v="8" actId="20577"/>
          <ac:spMkLst>
            <pc:docMk/>
            <pc:sldMk cId="3748225533" sldId="275"/>
            <ac:spMk id="10" creationId="{0AFA99E9-A936-FEA0-C97B-FC32E5F1AB3D}"/>
          </ac:spMkLst>
        </pc:spChg>
      </pc:sldChg>
      <pc:sldChg chg="modNotes">
        <pc:chgData name="Elise Posma" userId="S::e.posma@pznl.nl::0b5ac1b5-28cd-4814-9a1c-0820a8913ccf" providerId="AD" clId="Web-{91C808D1-2986-27CE-969B-332109D242D6}" dt="2024-05-15T07:33:36.166" v="28"/>
        <pc:sldMkLst>
          <pc:docMk/>
          <pc:sldMk cId="2310427119" sldId="276"/>
        </pc:sldMkLst>
      </pc:sldChg>
      <pc:sldChg chg="modNotes">
        <pc:chgData name="Elise Posma" userId="S::e.posma@pznl.nl::0b5ac1b5-28cd-4814-9a1c-0820a8913ccf" providerId="AD" clId="Web-{91C808D1-2986-27CE-969B-332109D242D6}" dt="2024-05-15T07:30:33.340" v="24"/>
        <pc:sldMkLst>
          <pc:docMk/>
          <pc:sldMk cId="1126675768" sldId="280"/>
        </pc:sldMkLst>
      </pc:sldChg>
      <pc:sldChg chg="modNotes">
        <pc:chgData name="Elise Posma" userId="S::e.posma@pznl.nl::0b5ac1b5-28cd-4814-9a1c-0820a8913ccf" providerId="AD" clId="Web-{91C808D1-2986-27CE-969B-332109D242D6}" dt="2024-05-15T07:20:27.921" v="6"/>
        <pc:sldMkLst>
          <pc:docMk/>
          <pc:sldMk cId="472608649" sldId="281"/>
        </pc:sldMkLst>
      </pc:sldChg>
    </pc:docChg>
  </pc:docChgLst>
  <pc:docChgLst>
    <pc:chgData name="Famke van Heeckeren tot Overlaer" userId="96838a5c-d711-4189-832c-a15883880c52" providerId="ADAL" clId="{E87041FB-26B7-4F71-BEF7-EEC6B7761580}"/>
    <pc:docChg chg="undo custSel addSld delSld modSld sldOrd">
      <pc:chgData name="Famke van Heeckeren tot Overlaer" userId="96838a5c-d711-4189-832c-a15883880c52" providerId="ADAL" clId="{E87041FB-26B7-4F71-BEF7-EEC6B7761580}" dt="2024-01-22T14:09:28.746" v="1692" actId="20577"/>
      <pc:docMkLst>
        <pc:docMk/>
      </pc:docMkLst>
      <pc:sldChg chg="modSp mod ord">
        <pc:chgData name="Famke van Heeckeren tot Overlaer" userId="96838a5c-d711-4189-832c-a15883880c52" providerId="ADAL" clId="{E87041FB-26B7-4F71-BEF7-EEC6B7761580}" dt="2024-01-08T14:14:18.668" v="1181" actId="20577"/>
        <pc:sldMkLst>
          <pc:docMk/>
          <pc:sldMk cId="2979246287" sldId="258"/>
        </pc:sldMkLst>
        <pc:spChg chg="mod">
          <ac:chgData name="Famke van Heeckeren tot Overlaer" userId="96838a5c-d711-4189-832c-a15883880c52" providerId="ADAL" clId="{E87041FB-26B7-4F71-BEF7-EEC6B7761580}" dt="2024-01-08T13:34:16.412" v="43" actId="403"/>
          <ac:spMkLst>
            <pc:docMk/>
            <pc:sldMk cId="2979246287" sldId="258"/>
            <ac:spMk id="7" creationId="{0EDF6B68-DA54-2986-D44B-05022A2B0F2D}"/>
          </ac:spMkLst>
        </pc:spChg>
        <pc:spChg chg="mod">
          <ac:chgData name="Famke van Heeckeren tot Overlaer" userId="96838a5c-d711-4189-832c-a15883880c52" providerId="ADAL" clId="{E87041FB-26B7-4F71-BEF7-EEC6B7761580}" dt="2024-01-08T14:14:18.668" v="1181" actId="20577"/>
          <ac:spMkLst>
            <pc:docMk/>
            <pc:sldMk cId="2979246287" sldId="258"/>
            <ac:spMk id="8" creationId="{6189840A-674E-1182-65C7-A7C014F02347}"/>
          </ac:spMkLst>
        </pc:spChg>
      </pc:sldChg>
      <pc:sldChg chg="modSp del mod">
        <pc:chgData name="Famke van Heeckeren tot Overlaer" userId="96838a5c-d711-4189-832c-a15883880c52" providerId="ADAL" clId="{E87041FB-26B7-4F71-BEF7-EEC6B7761580}" dt="2024-01-08T13:34:31.663" v="48" actId="47"/>
        <pc:sldMkLst>
          <pc:docMk/>
          <pc:sldMk cId="2997156410" sldId="259"/>
        </pc:sldMkLst>
        <pc:spChg chg="mod">
          <ac:chgData name="Famke van Heeckeren tot Overlaer" userId="96838a5c-d711-4189-832c-a15883880c52" providerId="ADAL" clId="{E87041FB-26B7-4F71-BEF7-EEC6B7761580}" dt="2024-01-08T13:33:30.369" v="17" actId="403"/>
          <ac:spMkLst>
            <pc:docMk/>
            <pc:sldMk cId="2997156410" sldId="259"/>
            <ac:spMk id="7" creationId="{2240E7E6-D0A7-7867-2DE6-8E8699C8FFD3}"/>
          </ac:spMkLst>
        </pc:spChg>
      </pc:sldChg>
      <pc:sldChg chg="del">
        <pc:chgData name="Famke van Heeckeren tot Overlaer" userId="96838a5c-d711-4189-832c-a15883880c52" providerId="ADAL" clId="{E87041FB-26B7-4F71-BEF7-EEC6B7761580}" dt="2024-01-08T14:16:46.838" v="1306" actId="47"/>
        <pc:sldMkLst>
          <pc:docMk/>
          <pc:sldMk cId="364827884" sldId="261"/>
        </pc:sldMkLst>
      </pc:sldChg>
      <pc:sldChg chg="del">
        <pc:chgData name="Famke van Heeckeren tot Overlaer" userId="96838a5c-d711-4189-832c-a15883880c52" providerId="ADAL" clId="{E87041FB-26B7-4F71-BEF7-EEC6B7761580}" dt="2024-01-08T14:16:47.814" v="1307" actId="47"/>
        <pc:sldMkLst>
          <pc:docMk/>
          <pc:sldMk cId="4171271993" sldId="262"/>
        </pc:sldMkLst>
      </pc:sldChg>
      <pc:sldChg chg="del">
        <pc:chgData name="Famke van Heeckeren tot Overlaer" userId="96838a5c-d711-4189-832c-a15883880c52" providerId="ADAL" clId="{E87041FB-26B7-4F71-BEF7-EEC6B7761580}" dt="2024-01-08T14:16:53.730" v="1309" actId="47"/>
        <pc:sldMkLst>
          <pc:docMk/>
          <pc:sldMk cId="3346261110" sldId="263"/>
        </pc:sldMkLst>
      </pc:sldChg>
      <pc:sldChg chg="del">
        <pc:chgData name="Famke van Heeckeren tot Overlaer" userId="96838a5c-d711-4189-832c-a15883880c52" providerId="ADAL" clId="{E87041FB-26B7-4F71-BEF7-EEC6B7761580}" dt="2024-01-08T14:16:56.851" v="1310" actId="47"/>
        <pc:sldMkLst>
          <pc:docMk/>
          <pc:sldMk cId="111618186" sldId="264"/>
        </pc:sldMkLst>
      </pc:sldChg>
      <pc:sldChg chg="del">
        <pc:chgData name="Famke van Heeckeren tot Overlaer" userId="96838a5c-d711-4189-832c-a15883880c52" providerId="ADAL" clId="{E87041FB-26B7-4F71-BEF7-EEC6B7761580}" dt="2024-01-08T14:16:48.470" v="1308" actId="47"/>
        <pc:sldMkLst>
          <pc:docMk/>
          <pc:sldMk cId="3772425823" sldId="265"/>
        </pc:sldMkLst>
      </pc:sldChg>
      <pc:sldChg chg="modSp new mod">
        <pc:chgData name="Famke van Heeckeren tot Overlaer" userId="96838a5c-d711-4189-832c-a15883880c52" providerId="ADAL" clId="{E87041FB-26B7-4F71-BEF7-EEC6B7761580}" dt="2024-01-08T14:16:35.243" v="1305" actId="403"/>
        <pc:sldMkLst>
          <pc:docMk/>
          <pc:sldMk cId="3429857549" sldId="266"/>
        </pc:sldMkLst>
        <pc:spChg chg="mod">
          <ac:chgData name="Famke van Heeckeren tot Overlaer" userId="96838a5c-d711-4189-832c-a15883880c52" providerId="ADAL" clId="{E87041FB-26B7-4F71-BEF7-EEC6B7761580}" dt="2024-01-08T14:16:35.243" v="1305" actId="403"/>
          <ac:spMkLst>
            <pc:docMk/>
            <pc:sldMk cId="3429857549" sldId="266"/>
            <ac:spMk id="2" creationId="{E5FCBA45-136D-9CA6-9FDD-6B1BA73D20CC}"/>
          </ac:spMkLst>
        </pc:spChg>
      </pc:sldChg>
      <pc:sldChg chg="addSp delSp modSp add mod">
        <pc:chgData name="Famke van Heeckeren tot Overlaer" userId="96838a5c-d711-4189-832c-a15883880c52" providerId="ADAL" clId="{E87041FB-26B7-4F71-BEF7-EEC6B7761580}" dt="2024-01-08T13:39:35.357" v="319"/>
        <pc:sldMkLst>
          <pc:docMk/>
          <pc:sldMk cId="2326729184" sldId="267"/>
        </pc:sldMkLst>
        <pc:spChg chg="mod">
          <ac:chgData name="Famke van Heeckeren tot Overlaer" userId="96838a5c-d711-4189-832c-a15883880c52" providerId="ADAL" clId="{E87041FB-26B7-4F71-BEF7-EEC6B7761580}" dt="2024-01-08T13:37:48.498" v="317" actId="20577"/>
          <ac:spMkLst>
            <pc:docMk/>
            <pc:sldMk cId="2326729184" sldId="267"/>
            <ac:spMk id="7" creationId="{0EDF6B68-DA54-2986-D44B-05022A2B0F2D}"/>
          </ac:spMkLst>
        </pc:spChg>
        <pc:spChg chg="del mod">
          <ac:chgData name="Famke van Heeckeren tot Overlaer" userId="96838a5c-d711-4189-832c-a15883880c52" providerId="ADAL" clId="{E87041FB-26B7-4F71-BEF7-EEC6B7761580}" dt="2024-01-08T13:39:35.357" v="319"/>
          <ac:spMkLst>
            <pc:docMk/>
            <pc:sldMk cId="2326729184" sldId="267"/>
            <ac:spMk id="8" creationId="{6189840A-674E-1182-65C7-A7C014F02347}"/>
          </ac:spMkLst>
        </pc:spChg>
        <pc:picChg chg="add mod">
          <ac:chgData name="Famke van Heeckeren tot Overlaer" userId="96838a5c-d711-4189-832c-a15883880c52" providerId="ADAL" clId="{E87041FB-26B7-4F71-BEF7-EEC6B7761580}" dt="2024-01-08T13:39:35.357" v="319"/>
          <ac:picMkLst>
            <pc:docMk/>
            <pc:sldMk cId="2326729184" sldId="267"/>
            <ac:picMk id="2" creationId="{9395E5BF-909E-7345-6247-BF13ACECACDA}"/>
          </ac:picMkLst>
        </pc:picChg>
      </pc:sldChg>
      <pc:sldChg chg="addSp delSp modSp add mod ord">
        <pc:chgData name="Famke van Heeckeren tot Overlaer" userId="96838a5c-d711-4189-832c-a15883880c52" providerId="ADAL" clId="{E87041FB-26B7-4F71-BEF7-EEC6B7761580}" dt="2024-01-08T14:28:02.278" v="1683" actId="6549"/>
        <pc:sldMkLst>
          <pc:docMk/>
          <pc:sldMk cId="409741479" sldId="268"/>
        </pc:sldMkLst>
        <pc:spChg chg="mod">
          <ac:chgData name="Famke van Heeckeren tot Overlaer" userId="96838a5c-d711-4189-832c-a15883880c52" providerId="ADAL" clId="{E87041FB-26B7-4F71-BEF7-EEC6B7761580}" dt="2024-01-08T13:57:05.193" v="715" actId="20577"/>
          <ac:spMkLst>
            <pc:docMk/>
            <pc:sldMk cId="409741479" sldId="268"/>
            <ac:spMk id="7" creationId="{0EDF6B68-DA54-2986-D44B-05022A2B0F2D}"/>
          </ac:spMkLst>
        </pc:spChg>
        <pc:spChg chg="del mod">
          <ac:chgData name="Famke van Heeckeren tot Overlaer" userId="96838a5c-d711-4189-832c-a15883880c52" providerId="ADAL" clId="{E87041FB-26B7-4F71-BEF7-EEC6B7761580}" dt="2024-01-08T13:50:46.775" v="549" actId="478"/>
          <ac:spMkLst>
            <pc:docMk/>
            <pc:sldMk cId="409741479" sldId="268"/>
            <ac:spMk id="8" creationId="{6189840A-674E-1182-65C7-A7C014F02347}"/>
          </ac:spMkLst>
        </pc:spChg>
        <pc:spChg chg="add del mod">
          <ac:chgData name="Famke van Heeckeren tot Overlaer" userId="96838a5c-d711-4189-832c-a15883880c52" providerId="ADAL" clId="{E87041FB-26B7-4F71-BEF7-EEC6B7761580}" dt="2024-01-08T13:50:49.236" v="551" actId="478"/>
          <ac:spMkLst>
            <pc:docMk/>
            <pc:sldMk cId="409741479" sldId="268"/>
            <ac:spMk id="9" creationId="{E110CD97-5DA9-757B-4AC4-0663F6506DE1}"/>
          </ac:spMkLst>
        </pc:spChg>
        <pc:spChg chg="add mod">
          <ac:chgData name="Famke van Heeckeren tot Overlaer" userId="96838a5c-d711-4189-832c-a15883880c52" providerId="ADAL" clId="{E87041FB-26B7-4F71-BEF7-EEC6B7761580}" dt="2024-01-08T13:57:10.904" v="717" actId="20577"/>
          <ac:spMkLst>
            <pc:docMk/>
            <pc:sldMk cId="409741479" sldId="268"/>
            <ac:spMk id="10" creationId="{0AFA99E9-A936-FEA0-C97B-FC32E5F1AB3D}"/>
          </ac:spMkLst>
        </pc:spChg>
        <pc:spChg chg="add mod">
          <ac:chgData name="Famke van Heeckeren tot Overlaer" userId="96838a5c-d711-4189-832c-a15883880c52" providerId="ADAL" clId="{E87041FB-26B7-4F71-BEF7-EEC6B7761580}" dt="2024-01-08T14:28:02.278" v="1683" actId="6549"/>
          <ac:spMkLst>
            <pc:docMk/>
            <pc:sldMk cId="409741479" sldId="268"/>
            <ac:spMk id="12" creationId="{3F5A8134-E7D5-CE49-8A49-368D6389E008}"/>
          </ac:spMkLst>
        </pc:spChg>
        <pc:picChg chg="add del mod">
          <ac:chgData name="Famke van Heeckeren tot Overlaer" userId="96838a5c-d711-4189-832c-a15883880c52" providerId="ADAL" clId="{E87041FB-26B7-4F71-BEF7-EEC6B7761580}" dt="2024-01-08T13:48:32.373" v="507" actId="478"/>
          <ac:picMkLst>
            <pc:docMk/>
            <pc:sldMk cId="409741479" sldId="268"/>
            <ac:picMk id="2" creationId="{E17FB468-68BC-972D-3EFF-C84DAE5D8B84}"/>
          </ac:picMkLst>
        </pc:picChg>
      </pc:sldChg>
      <pc:sldChg chg="modSp add mod ord modNotesTx">
        <pc:chgData name="Famke van Heeckeren tot Overlaer" userId="96838a5c-d711-4189-832c-a15883880c52" providerId="ADAL" clId="{E87041FB-26B7-4F71-BEF7-EEC6B7761580}" dt="2024-01-22T14:09:28.746" v="1692" actId="20577"/>
        <pc:sldMkLst>
          <pc:docMk/>
          <pc:sldMk cId="3307292787" sldId="269"/>
        </pc:sldMkLst>
        <pc:spChg chg="mod">
          <ac:chgData name="Famke van Heeckeren tot Overlaer" userId="96838a5c-d711-4189-832c-a15883880c52" providerId="ADAL" clId="{E87041FB-26B7-4F71-BEF7-EEC6B7761580}" dt="2024-01-08T13:42:00.559" v="403" actId="20577"/>
          <ac:spMkLst>
            <pc:docMk/>
            <pc:sldMk cId="3307292787" sldId="269"/>
            <ac:spMk id="7" creationId="{0EDF6B68-DA54-2986-D44B-05022A2B0F2D}"/>
          </ac:spMkLst>
        </pc:spChg>
        <pc:spChg chg="mod">
          <ac:chgData name="Famke van Heeckeren tot Overlaer" userId="96838a5c-d711-4189-832c-a15883880c52" providerId="ADAL" clId="{E87041FB-26B7-4F71-BEF7-EEC6B7761580}" dt="2024-01-08T13:42:20.581" v="412" actId="5793"/>
          <ac:spMkLst>
            <pc:docMk/>
            <pc:sldMk cId="3307292787" sldId="269"/>
            <ac:spMk id="8" creationId="{6189840A-674E-1182-65C7-A7C014F02347}"/>
          </ac:spMkLst>
        </pc:spChg>
      </pc:sldChg>
      <pc:sldChg chg="addSp delSp modSp add del mod ord">
        <pc:chgData name="Famke van Heeckeren tot Overlaer" userId="96838a5c-d711-4189-832c-a15883880c52" providerId="ADAL" clId="{E87041FB-26B7-4F71-BEF7-EEC6B7761580}" dt="2024-01-08T14:08:57.755" v="976" actId="47"/>
        <pc:sldMkLst>
          <pc:docMk/>
          <pc:sldMk cId="2935460826" sldId="270"/>
        </pc:sldMkLst>
        <pc:spChg chg="add mod">
          <ac:chgData name="Famke van Heeckeren tot Overlaer" userId="96838a5c-d711-4189-832c-a15883880c52" providerId="ADAL" clId="{E87041FB-26B7-4F71-BEF7-EEC6B7761580}" dt="2024-01-08T14:01:44.089" v="921" actId="1076"/>
          <ac:spMkLst>
            <pc:docMk/>
            <pc:sldMk cId="2935460826" sldId="270"/>
            <ac:spMk id="4" creationId="{5CF30C69-F4F3-33AC-2C90-6B0BB3D82495}"/>
          </ac:spMkLst>
        </pc:spChg>
        <pc:spChg chg="mod">
          <ac:chgData name="Famke van Heeckeren tot Overlaer" userId="96838a5c-d711-4189-832c-a15883880c52" providerId="ADAL" clId="{E87041FB-26B7-4F71-BEF7-EEC6B7761580}" dt="2024-01-08T13:49:26.945" v="547" actId="20577"/>
          <ac:spMkLst>
            <pc:docMk/>
            <pc:sldMk cId="2935460826" sldId="270"/>
            <ac:spMk id="7" creationId="{0EDF6B68-DA54-2986-D44B-05022A2B0F2D}"/>
          </ac:spMkLst>
        </pc:spChg>
        <pc:spChg chg="del">
          <ac:chgData name="Famke van Heeckeren tot Overlaer" userId="96838a5c-d711-4189-832c-a15883880c52" providerId="ADAL" clId="{E87041FB-26B7-4F71-BEF7-EEC6B7761580}" dt="2024-01-08T13:51:10.814" v="552" actId="478"/>
          <ac:spMkLst>
            <pc:docMk/>
            <pc:sldMk cId="2935460826" sldId="270"/>
            <ac:spMk id="8" creationId="{6189840A-674E-1182-65C7-A7C014F02347}"/>
          </ac:spMkLst>
        </pc:spChg>
      </pc:sldChg>
      <pc:sldChg chg="modSp add mod">
        <pc:chgData name="Famke van Heeckeren tot Overlaer" userId="96838a5c-d711-4189-832c-a15883880c52" providerId="ADAL" clId="{E87041FB-26B7-4F71-BEF7-EEC6B7761580}" dt="2024-01-08T14:17:12.240" v="1311" actId="14100"/>
        <pc:sldMkLst>
          <pc:docMk/>
          <pc:sldMk cId="139439553" sldId="271"/>
        </pc:sldMkLst>
        <pc:spChg chg="mod">
          <ac:chgData name="Famke van Heeckeren tot Overlaer" userId="96838a5c-d711-4189-832c-a15883880c52" providerId="ADAL" clId="{E87041FB-26B7-4F71-BEF7-EEC6B7761580}" dt="2024-01-08T14:09:11.651" v="1000" actId="20577"/>
          <ac:spMkLst>
            <pc:docMk/>
            <pc:sldMk cId="139439553" sldId="271"/>
            <ac:spMk id="7" creationId="{0EDF6B68-DA54-2986-D44B-05022A2B0F2D}"/>
          </ac:spMkLst>
        </pc:spChg>
        <pc:picChg chg="mod">
          <ac:chgData name="Famke van Heeckeren tot Overlaer" userId="96838a5c-d711-4189-832c-a15883880c52" providerId="ADAL" clId="{E87041FB-26B7-4F71-BEF7-EEC6B7761580}" dt="2024-01-08T14:17:12.240" v="1311" actId="14100"/>
          <ac:picMkLst>
            <pc:docMk/>
            <pc:sldMk cId="139439553" sldId="271"/>
            <ac:picMk id="2" creationId="{A1E35B7C-E15B-67C8-01CB-F6264FA1957D}"/>
          </ac:picMkLst>
        </pc:picChg>
      </pc:sldChg>
      <pc:sldChg chg="delSp modSp add mod">
        <pc:chgData name="Famke van Heeckeren tot Overlaer" userId="96838a5c-d711-4189-832c-a15883880c52" providerId="ADAL" clId="{E87041FB-26B7-4F71-BEF7-EEC6B7761580}" dt="2024-01-08T14:01:28.807" v="920"/>
        <pc:sldMkLst>
          <pc:docMk/>
          <pc:sldMk cId="1504154189" sldId="272"/>
        </pc:sldMkLst>
        <pc:spChg chg="mod">
          <ac:chgData name="Famke van Heeckeren tot Overlaer" userId="96838a5c-d711-4189-832c-a15883880c52" providerId="ADAL" clId="{E87041FB-26B7-4F71-BEF7-EEC6B7761580}" dt="2024-01-08T14:01:19.176" v="917" actId="20577"/>
          <ac:spMkLst>
            <pc:docMk/>
            <pc:sldMk cId="1504154189" sldId="272"/>
            <ac:spMk id="7" creationId="{0EDF6B68-DA54-2986-D44B-05022A2B0F2D}"/>
          </ac:spMkLst>
        </pc:spChg>
        <pc:spChg chg="del mod">
          <ac:chgData name="Famke van Heeckeren tot Overlaer" userId="96838a5c-d711-4189-832c-a15883880c52" providerId="ADAL" clId="{E87041FB-26B7-4F71-BEF7-EEC6B7761580}" dt="2024-01-08T14:01:28.807" v="920"/>
          <ac:spMkLst>
            <pc:docMk/>
            <pc:sldMk cId="1504154189" sldId="272"/>
            <ac:spMk id="12" creationId="{3F5A8134-E7D5-CE49-8A49-368D6389E008}"/>
          </ac:spMkLst>
        </pc:spChg>
      </pc:sldChg>
      <pc:sldChg chg="addSp delSp modSp add mod modClrScheme chgLayout">
        <pc:chgData name="Famke van Heeckeren tot Overlaer" userId="96838a5c-d711-4189-832c-a15883880c52" providerId="ADAL" clId="{E87041FB-26B7-4F71-BEF7-EEC6B7761580}" dt="2024-01-08T14:19:31.463" v="1318" actId="1076"/>
        <pc:sldMkLst>
          <pc:docMk/>
          <pc:sldMk cId="2001649844" sldId="273"/>
        </pc:sldMkLst>
        <pc:spChg chg="del mod ord">
          <ac:chgData name="Famke van Heeckeren tot Overlaer" userId="96838a5c-d711-4189-832c-a15883880c52" providerId="ADAL" clId="{E87041FB-26B7-4F71-BEF7-EEC6B7761580}" dt="2024-01-08T14:04:07.332" v="953" actId="478"/>
          <ac:spMkLst>
            <pc:docMk/>
            <pc:sldMk cId="2001649844" sldId="273"/>
            <ac:spMk id="4" creationId="{5CF30C69-F4F3-33AC-2C90-6B0BB3D82495}"/>
          </ac:spMkLst>
        </pc:spChg>
        <pc:spChg chg="mod ord">
          <ac:chgData name="Famke van Heeckeren tot Overlaer" userId="96838a5c-d711-4189-832c-a15883880c52" providerId="ADAL" clId="{E87041FB-26B7-4F71-BEF7-EEC6B7761580}" dt="2024-01-08T14:02:19.600" v="924" actId="700"/>
          <ac:spMkLst>
            <pc:docMk/>
            <pc:sldMk cId="2001649844" sldId="273"/>
            <ac:spMk id="6" creationId="{1B8FE0CD-ECE0-7B30-25C0-56C37C6B83EA}"/>
          </ac:spMkLst>
        </pc:spChg>
        <pc:spChg chg="mod ord">
          <ac:chgData name="Famke van Heeckeren tot Overlaer" userId="96838a5c-d711-4189-832c-a15883880c52" providerId="ADAL" clId="{E87041FB-26B7-4F71-BEF7-EEC6B7761580}" dt="2024-01-08T14:02:48.052" v="946" actId="20577"/>
          <ac:spMkLst>
            <pc:docMk/>
            <pc:sldMk cId="2001649844" sldId="273"/>
            <ac:spMk id="7" creationId="{0EDF6B68-DA54-2986-D44B-05022A2B0F2D}"/>
          </ac:spMkLst>
        </pc:spChg>
        <pc:picChg chg="del">
          <ac:chgData name="Famke van Heeckeren tot Overlaer" userId="96838a5c-d711-4189-832c-a15883880c52" providerId="ADAL" clId="{E87041FB-26B7-4F71-BEF7-EEC6B7761580}" dt="2024-01-08T14:03:29.542" v="947" actId="478"/>
          <ac:picMkLst>
            <pc:docMk/>
            <pc:sldMk cId="2001649844" sldId="273"/>
            <ac:picMk id="2" creationId="{E17FB468-68BC-972D-3EFF-C84DAE5D8B84}"/>
          </ac:picMkLst>
        </pc:picChg>
        <pc:picChg chg="add del mod">
          <ac:chgData name="Famke van Heeckeren tot Overlaer" userId="96838a5c-d711-4189-832c-a15883880c52" providerId="ADAL" clId="{E87041FB-26B7-4F71-BEF7-EEC6B7761580}" dt="2024-01-08T14:17:19.816" v="1312" actId="478"/>
          <ac:picMkLst>
            <pc:docMk/>
            <pc:sldMk cId="2001649844" sldId="273"/>
            <ac:picMk id="5" creationId="{771A8E64-A4D9-7AE1-4596-9410E828D120}"/>
          </ac:picMkLst>
        </pc:picChg>
        <pc:picChg chg="add del mod">
          <ac:chgData name="Famke van Heeckeren tot Overlaer" userId="96838a5c-d711-4189-832c-a15883880c52" providerId="ADAL" clId="{E87041FB-26B7-4F71-BEF7-EEC6B7761580}" dt="2024-01-08T14:18:57.735" v="1316" actId="478"/>
          <ac:picMkLst>
            <pc:docMk/>
            <pc:sldMk cId="2001649844" sldId="273"/>
            <ac:picMk id="9" creationId="{72E6F8F8-87B6-4FFF-6354-3EC0DF7FF5D3}"/>
          </ac:picMkLst>
        </pc:picChg>
        <pc:picChg chg="add mod">
          <ac:chgData name="Famke van Heeckeren tot Overlaer" userId="96838a5c-d711-4189-832c-a15883880c52" providerId="ADAL" clId="{E87041FB-26B7-4F71-BEF7-EEC6B7761580}" dt="2024-01-08T14:19:31.463" v="1318" actId="1076"/>
          <ac:picMkLst>
            <pc:docMk/>
            <pc:sldMk cId="2001649844" sldId="273"/>
            <ac:picMk id="10" creationId="{BECE2B37-A7D4-DE1D-F3DC-BAEAF96DE294}"/>
          </ac:picMkLst>
        </pc:picChg>
      </pc:sldChg>
      <pc:sldChg chg="modSp add mod">
        <pc:chgData name="Famke van Heeckeren tot Overlaer" userId="96838a5c-d711-4189-832c-a15883880c52" providerId="ADAL" clId="{E87041FB-26B7-4F71-BEF7-EEC6B7761580}" dt="2024-01-08T14:27:14.718" v="1602" actId="108"/>
        <pc:sldMkLst>
          <pc:docMk/>
          <pc:sldMk cId="1329402463" sldId="274"/>
        </pc:sldMkLst>
        <pc:spChg chg="mod">
          <ac:chgData name="Famke van Heeckeren tot Overlaer" userId="96838a5c-d711-4189-832c-a15883880c52" providerId="ADAL" clId="{E87041FB-26B7-4F71-BEF7-EEC6B7761580}" dt="2024-01-08T14:07:17.925" v="971" actId="20577"/>
          <ac:spMkLst>
            <pc:docMk/>
            <pc:sldMk cId="1329402463" sldId="274"/>
            <ac:spMk id="7" creationId="{0EDF6B68-DA54-2986-D44B-05022A2B0F2D}"/>
          </ac:spMkLst>
        </pc:spChg>
        <pc:spChg chg="mod">
          <ac:chgData name="Famke van Heeckeren tot Overlaer" userId="96838a5c-d711-4189-832c-a15883880c52" providerId="ADAL" clId="{E87041FB-26B7-4F71-BEF7-EEC6B7761580}" dt="2024-01-08T14:27:14.718" v="1602" actId="108"/>
          <ac:spMkLst>
            <pc:docMk/>
            <pc:sldMk cId="1329402463" sldId="274"/>
            <ac:spMk id="10" creationId="{0AFA99E9-A936-FEA0-C97B-FC32E5F1AB3D}"/>
          </ac:spMkLst>
        </pc:spChg>
      </pc:sldChg>
      <pc:sldChg chg="modSp add mod">
        <pc:chgData name="Famke van Heeckeren tot Overlaer" userId="96838a5c-d711-4189-832c-a15883880c52" providerId="ADAL" clId="{E87041FB-26B7-4F71-BEF7-EEC6B7761580}" dt="2024-01-08T14:29:03.798" v="1689" actId="20577"/>
        <pc:sldMkLst>
          <pc:docMk/>
          <pc:sldMk cId="3748225533" sldId="275"/>
        </pc:sldMkLst>
        <pc:spChg chg="mod">
          <ac:chgData name="Famke van Heeckeren tot Overlaer" userId="96838a5c-d711-4189-832c-a15883880c52" providerId="ADAL" clId="{E87041FB-26B7-4F71-BEF7-EEC6B7761580}" dt="2024-01-08T14:10:01.488" v="1066" actId="20577"/>
          <ac:spMkLst>
            <pc:docMk/>
            <pc:sldMk cId="3748225533" sldId="275"/>
            <ac:spMk id="7" creationId="{0EDF6B68-DA54-2986-D44B-05022A2B0F2D}"/>
          </ac:spMkLst>
        </pc:spChg>
        <pc:spChg chg="mod">
          <ac:chgData name="Famke van Heeckeren tot Overlaer" userId="96838a5c-d711-4189-832c-a15883880c52" providerId="ADAL" clId="{E87041FB-26B7-4F71-BEF7-EEC6B7761580}" dt="2024-01-08T14:29:03.798" v="1689" actId="20577"/>
          <ac:spMkLst>
            <pc:docMk/>
            <pc:sldMk cId="3748225533" sldId="275"/>
            <ac:spMk id="10" creationId="{0AFA99E9-A936-FEA0-C97B-FC32E5F1AB3D}"/>
          </ac:spMkLst>
        </pc:spChg>
      </pc:sldChg>
      <pc:sldChg chg="addSp delSp modSp add mod">
        <pc:chgData name="Famke van Heeckeren tot Overlaer" userId="96838a5c-d711-4189-832c-a15883880c52" providerId="ADAL" clId="{E87041FB-26B7-4F71-BEF7-EEC6B7761580}" dt="2024-01-08T14:28:57.452" v="1687" actId="108"/>
        <pc:sldMkLst>
          <pc:docMk/>
          <pc:sldMk cId="2310427119" sldId="276"/>
        </pc:sldMkLst>
        <pc:spChg chg="add del mod">
          <ac:chgData name="Famke van Heeckeren tot Overlaer" userId="96838a5c-d711-4189-832c-a15883880c52" providerId="ADAL" clId="{E87041FB-26B7-4F71-BEF7-EEC6B7761580}" dt="2024-01-08T14:10:34.949" v="1074" actId="22"/>
          <ac:spMkLst>
            <pc:docMk/>
            <pc:sldMk cId="2310427119" sldId="276"/>
            <ac:spMk id="3" creationId="{4A98F28D-9934-FB37-E192-D4FC7520233E}"/>
          </ac:spMkLst>
        </pc:spChg>
        <pc:spChg chg="mod">
          <ac:chgData name="Famke van Heeckeren tot Overlaer" userId="96838a5c-d711-4189-832c-a15883880c52" providerId="ADAL" clId="{E87041FB-26B7-4F71-BEF7-EEC6B7761580}" dt="2024-01-08T14:09:54.869" v="1037" actId="20577"/>
          <ac:spMkLst>
            <pc:docMk/>
            <pc:sldMk cId="2310427119" sldId="276"/>
            <ac:spMk id="7" creationId="{0EDF6B68-DA54-2986-D44B-05022A2B0F2D}"/>
          </ac:spMkLst>
        </pc:spChg>
        <pc:spChg chg="mod">
          <ac:chgData name="Famke van Heeckeren tot Overlaer" userId="96838a5c-d711-4189-832c-a15883880c52" providerId="ADAL" clId="{E87041FB-26B7-4F71-BEF7-EEC6B7761580}" dt="2024-01-08T14:28:57.452" v="1687" actId="108"/>
          <ac:spMkLst>
            <pc:docMk/>
            <pc:sldMk cId="2310427119" sldId="276"/>
            <ac:spMk id="10" creationId="{0AFA99E9-A936-FEA0-C97B-FC32E5F1AB3D}"/>
          </ac:spMkLst>
        </pc:spChg>
      </pc:sldChg>
      <pc:sldChg chg="modSp mod">
        <pc:chgData name="Famke van Heeckeren tot Overlaer" userId="96838a5c-d711-4189-832c-a15883880c52" providerId="ADAL" clId="{E87041FB-26B7-4F71-BEF7-EEC6B7761580}" dt="2024-01-08T14:27:09.081" v="1601" actId="108"/>
        <pc:sldMkLst>
          <pc:docMk/>
          <pc:sldMk cId="78620943" sldId="277"/>
        </pc:sldMkLst>
        <pc:spChg chg="mod">
          <ac:chgData name="Famke van Heeckeren tot Overlaer" userId="96838a5c-d711-4189-832c-a15883880c52" providerId="ADAL" clId="{E87041FB-26B7-4F71-BEF7-EEC6B7761580}" dt="2024-01-08T14:27:09.081" v="1601" actId="108"/>
          <ac:spMkLst>
            <pc:docMk/>
            <pc:sldMk cId="78620943" sldId="277"/>
            <ac:spMk id="3" creationId="{415CF7FC-3BC3-7FA5-6ACE-F1152CEC6B30}"/>
          </ac:spMkLst>
        </pc:spChg>
      </pc:sldChg>
      <pc:sldChg chg="modSp add mod">
        <pc:chgData name="Famke van Heeckeren tot Overlaer" userId="96838a5c-d711-4189-832c-a15883880c52" providerId="ADAL" clId="{E87041FB-26B7-4F71-BEF7-EEC6B7761580}" dt="2024-01-08T14:28:23.789" v="1684" actId="108"/>
        <pc:sldMkLst>
          <pc:docMk/>
          <pc:sldMk cId="2456024121" sldId="278"/>
        </pc:sldMkLst>
        <pc:spChg chg="mod">
          <ac:chgData name="Famke van Heeckeren tot Overlaer" userId="96838a5c-d711-4189-832c-a15883880c52" providerId="ADAL" clId="{E87041FB-26B7-4F71-BEF7-EEC6B7761580}" dt="2024-01-08T14:28:23.789" v="1684" actId="108"/>
          <ac:spMkLst>
            <pc:docMk/>
            <pc:sldMk cId="2456024121" sldId="278"/>
            <ac:spMk id="10" creationId="{0AFA99E9-A936-FEA0-C97B-FC32E5F1AB3D}"/>
          </ac:spMkLst>
        </pc:spChg>
      </pc:sldChg>
    </pc:docChg>
  </pc:docChgLst>
  <pc:docChgLst>
    <pc:chgData name="Roos-Marie Tummers" userId="b75dc4fe-929c-4f1a-ab83-b87dd7e999b6" providerId="ADAL" clId="{BB26B539-A1A5-4C56-9102-97975FD140BD}"/>
    <pc:docChg chg="modSld">
      <pc:chgData name="Roos-Marie Tummers" userId="b75dc4fe-929c-4f1a-ab83-b87dd7e999b6" providerId="ADAL" clId="{BB26B539-A1A5-4C56-9102-97975FD140BD}" dt="2024-04-21T17:11:20.631" v="57"/>
      <pc:docMkLst>
        <pc:docMk/>
      </pc:docMkLst>
      <pc:sldChg chg="modSp mod">
        <pc:chgData name="Roos-Marie Tummers" userId="b75dc4fe-929c-4f1a-ab83-b87dd7e999b6" providerId="ADAL" clId="{BB26B539-A1A5-4C56-9102-97975FD140BD}" dt="2024-04-21T17:06:56.374" v="8" actId="20577"/>
        <pc:sldMkLst>
          <pc:docMk/>
          <pc:sldMk cId="409741479" sldId="268"/>
        </pc:sldMkLst>
        <pc:spChg chg="mod">
          <ac:chgData name="Roos-Marie Tummers" userId="b75dc4fe-929c-4f1a-ab83-b87dd7e999b6" providerId="ADAL" clId="{BB26B539-A1A5-4C56-9102-97975FD140BD}" dt="2024-04-21T17:06:56.374" v="8" actId="20577"/>
          <ac:spMkLst>
            <pc:docMk/>
            <pc:sldMk cId="409741479" sldId="268"/>
            <ac:spMk id="12" creationId="{3F5A8134-E7D5-CE49-8A49-368D6389E008}"/>
          </ac:spMkLst>
        </pc:spChg>
      </pc:sldChg>
      <pc:sldChg chg="modSp mod">
        <pc:chgData name="Roos-Marie Tummers" userId="b75dc4fe-929c-4f1a-ab83-b87dd7e999b6" providerId="ADAL" clId="{BB26B539-A1A5-4C56-9102-97975FD140BD}" dt="2024-04-21T17:05:56.907" v="0" actId="20577"/>
        <pc:sldMkLst>
          <pc:docMk/>
          <pc:sldMk cId="3307292787" sldId="269"/>
        </pc:sldMkLst>
        <pc:spChg chg="mod">
          <ac:chgData name="Roos-Marie Tummers" userId="b75dc4fe-929c-4f1a-ab83-b87dd7e999b6" providerId="ADAL" clId="{BB26B539-A1A5-4C56-9102-97975FD140BD}" dt="2024-04-21T17:05:56.907" v="0" actId="20577"/>
          <ac:spMkLst>
            <pc:docMk/>
            <pc:sldMk cId="3307292787" sldId="269"/>
            <ac:spMk id="8" creationId="{6189840A-674E-1182-65C7-A7C014F02347}"/>
          </ac:spMkLst>
        </pc:spChg>
      </pc:sldChg>
      <pc:sldChg chg="addCm">
        <pc:chgData name="Roos-Marie Tummers" userId="b75dc4fe-929c-4f1a-ab83-b87dd7e999b6" providerId="ADAL" clId="{BB26B539-A1A5-4C56-9102-97975FD140BD}" dt="2024-04-21T17:11:20.631" v="57"/>
        <pc:sldMkLst>
          <pc:docMk/>
          <pc:sldMk cId="2310427119" sldId="276"/>
        </pc:sldMkLst>
        <pc:extLst>
          <p:ext xmlns:p="http://schemas.openxmlformats.org/presentationml/2006/main" uri="{D6D511B9-2390-475A-947B-AFAB55BFBCF1}">
            <pc226:cmChg xmlns:pc226="http://schemas.microsoft.com/office/powerpoint/2022/06/main/command" chg="add">
              <pc226:chgData name="Roos-Marie Tummers" userId="b75dc4fe-929c-4f1a-ab83-b87dd7e999b6" providerId="ADAL" clId="{BB26B539-A1A5-4C56-9102-97975FD140BD}" dt="2024-04-21T17:11:20.631" v="57"/>
              <pc2:cmMkLst xmlns:pc2="http://schemas.microsoft.com/office/powerpoint/2019/9/main/command">
                <pc:docMk/>
                <pc:sldMk cId="2310427119" sldId="276"/>
                <pc2:cmMk id="{2A8164EC-7164-45EA-8CD6-2985CC7007C5}"/>
              </pc2:cmMkLst>
            </pc226:cmChg>
          </p:ext>
        </pc:extLst>
      </pc:sldChg>
      <pc:sldChg chg="modSp mod">
        <pc:chgData name="Roos-Marie Tummers" userId="b75dc4fe-929c-4f1a-ab83-b87dd7e999b6" providerId="ADAL" clId="{BB26B539-A1A5-4C56-9102-97975FD140BD}" dt="2024-04-21T17:08:26.163" v="19" actId="20577"/>
        <pc:sldMkLst>
          <pc:docMk/>
          <pc:sldMk cId="78620943" sldId="277"/>
        </pc:sldMkLst>
        <pc:spChg chg="mod">
          <ac:chgData name="Roos-Marie Tummers" userId="b75dc4fe-929c-4f1a-ab83-b87dd7e999b6" providerId="ADAL" clId="{BB26B539-A1A5-4C56-9102-97975FD140BD}" dt="2024-04-21T17:08:26.163" v="19" actId="20577"/>
          <ac:spMkLst>
            <pc:docMk/>
            <pc:sldMk cId="78620943" sldId="277"/>
            <ac:spMk id="2" creationId="{F82BF295-56C7-8388-592E-9A77F8203A39}"/>
          </ac:spMkLst>
        </pc:spChg>
        <pc:spChg chg="mod">
          <ac:chgData name="Roos-Marie Tummers" userId="b75dc4fe-929c-4f1a-ab83-b87dd7e999b6" providerId="ADAL" clId="{BB26B539-A1A5-4C56-9102-97975FD140BD}" dt="2024-04-21T17:08:04.935" v="13" actId="20577"/>
          <ac:spMkLst>
            <pc:docMk/>
            <pc:sldMk cId="78620943" sldId="277"/>
            <ac:spMk id="7" creationId="{0EDF6B68-DA54-2986-D44B-05022A2B0F2D}"/>
          </ac:spMkLst>
        </pc:spChg>
      </pc:sldChg>
      <pc:sldChg chg="modSp mod">
        <pc:chgData name="Roos-Marie Tummers" userId="b75dc4fe-929c-4f1a-ab83-b87dd7e999b6" providerId="ADAL" clId="{BB26B539-A1A5-4C56-9102-97975FD140BD}" dt="2024-04-21T17:09:47.948" v="56" actId="20577"/>
        <pc:sldMkLst>
          <pc:docMk/>
          <pc:sldMk cId="742450582" sldId="282"/>
        </pc:sldMkLst>
        <pc:spChg chg="mod">
          <ac:chgData name="Roos-Marie Tummers" userId="b75dc4fe-929c-4f1a-ab83-b87dd7e999b6" providerId="ADAL" clId="{BB26B539-A1A5-4C56-9102-97975FD140BD}" dt="2024-04-21T17:09:47.948" v="56" actId="20577"/>
          <ac:spMkLst>
            <pc:docMk/>
            <pc:sldMk cId="742450582" sldId="282"/>
            <ac:spMk id="10" creationId="{0AFA99E9-A936-FEA0-C97B-FC32E5F1AB3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2-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alliaweb.nl/overzichtspagina-hulpmiddelen/surprise-question-en-dubbele-surprise-question"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Licht toe wat de surprise question inhoudt. Zijn de deelnemers bekend met de surprise question? </a:t>
            </a:r>
          </a:p>
          <a:p>
            <a:endParaRPr lang="nl-NL" i="1"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i="0" dirty="0"/>
              <a:t>De surprise question is een hulpmiddel om de palliatieve fase tijdig te herkennen. De vraag </a:t>
            </a:r>
            <a:r>
              <a:rPr lang="nl-NL" dirty="0"/>
              <a:t>'Zou het mij verbazen als deze patiënt in de komende 12 maanden komt te overlijden?’ kan de zorgverlener zichzelf stellen wanneer </a:t>
            </a:r>
            <a:r>
              <a:rPr lang="nl-NL" b="0" i="0" dirty="0">
                <a:solidFill>
                  <a:srgbClr val="2C408B"/>
                </a:solidFill>
                <a:effectLst/>
                <a:highlight>
                  <a:srgbClr val="FFFFFF"/>
                </a:highlight>
                <a:latin typeface="century-gothic"/>
              </a:rPr>
              <a:t>de situatie van de patiënt verandert. Bijvoorbeeld bij een </a:t>
            </a:r>
            <a:r>
              <a:rPr lang="nl-NL" i="0" dirty="0"/>
              <a:t>nieuwe complicatie of bij toename van ziekte of kwetsbaarheid. Aanvullend kan de zorgverlener hier verder op reflecteren: hoe verwacht ik dat de situatie is over 6 maanden? Of 3 maan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i="0" dirty="0"/>
          </a:p>
          <a:p>
            <a:r>
              <a:rPr lang="nl-NL" dirty="0">
                <a:cs typeface="Calibri"/>
              </a:rPr>
              <a:t>Volgende dia: dubbele surprise questio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946601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Licht toe wat de dubbele surprise question inhoudt. Zie ook: </a:t>
            </a:r>
            <a:r>
              <a:rPr lang="fr-FR" dirty="0">
                <a:hlinkClick r:id="rId3"/>
              </a:rPr>
              <a:t>Surprise Question en dubbele Surprise Question (meetinstrument) - Palliaweb</a:t>
            </a: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Zijn de deelnemers hiermee bekend? </a:t>
            </a:r>
          </a:p>
          <a:p>
            <a:endParaRPr lang="nl-NL" i="1"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Als de palliatieve fase is gemarkeerd, is dit het moment voor de arts om bij de patiënt en naasten te exploreren of zij openstaan voor een gesprek over proactieve zorgplanning. In dit gesprek worden doelen en voorkeuren voor toekomstige zorg en behandeling gezamenlijk onderzocht en geformuleerd. Ook is het van belang om deze inzichten met collega’s te bespreken en te registreren in het individueel zorgplan. Dit wordt verder behandeld in o.a. de workshops ‘Praten over de toekomst’, ‘Persoonlijk dossier’ en ‘Samen besliss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i="0" dirty="0"/>
              <a:t>Markeren is niet altijd eenvoudig. De surprise question kan een hulpmiddel zijn om een idee te krijgen van de situatie, maar is niet voor elke situatie of ziektebeeld eenduidig. Als de situatie het toelaat en de patiënt staat ervoor open, dan kunnen wensen en behoeften rondom (toekomstige) palliatieve zorg ook besproken worden als je niet verwacht dat de patiënt binnen een jaar komt te overlijden.</a:t>
            </a:r>
            <a:endParaRPr lang="nl-NL" i="0" dirty="0">
              <a:cs typeface="Calibri"/>
            </a:endParaRPr>
          </a:p>
          <a:p>
            <a:endParaRPr lang="nl-NL" i="1" dirty="0">
              <a:cs typeface="Calibri"/>
            </a:endParaRPr>
          </a:p>
          <a:p>
            <a:endParaRPr lang="nl-NL" dirty="0">
              <a:cs typeface="Calibri"/>
            </a:endParaRPr>
          </a:p>
          <a:p>
            <a:r>
              <a:rPr lang="nl-NL" dirty="0">
                <a:cs typeface="Calibri"/>
              </a:rPr>
              <a:t>Volgende dia: SPICT</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157227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endParaRPr lang="nl-NL" dirty="0">
              <a:cs typeface="Calibri"/>
            </a:endParaRPr>
          </a:p>
          <a:p>
            <a:r>
              <a:rPr lang="nl-NL" dirty="0">
                <a:cs typeface="Calibri"/>
              </a:rPr>
              <a:t>Inhoud: </a:t>
            </a:r>
            <a:endParaRPr lang="nl-NL" dirty="0">
              <a:ea typeface="Calibri"/>
              <a:cs typeface="Calibri"/>
            </a:endParaRPr>
          </a:p>
          <a:p>
            <a:r>
              <a:rPr lang="nl-NL" dirty="0"/>
              <a:t>Naast de 'surprise question' kan aanvullend SPICT, de ondersteunende en palliatieve zorg indicatoren-tool, gebruikt worden om patiënten als palliatief te markeren. </a:t>
            </a:r>
          </a:p>
          <a:p>
            <a:r>
              <a:rPr lang="nl-NL" dirty="0">
                <a:ea typeface="Calibri" panose="020F0502020204030204"/>
                <a:cs typeface="Calibri" panose="020F0502020204030204"/>
                <a:hlinkClick r:id="rId3"/>
              </a:rPr>
              <a:t>Link naar SPICT [Palliaweb]</a:t>
            </a:r>
            <a:endParaRPr lang="nl-NL" dirty="0">
              <a:ea typeface="Calibri" panose="020F0502020204030204"/>
              <a:cs typeface="Calibri" panose="020F0502020204030204"/>
            </a:endParaRPr>
          </a:p>
          <a:p>
            <a:endParaRPr lang="nl-NL" dirty="0"/>
          </a:p>
          <a:p>
            <a:r>
              <a:rPr lang="nl-NL" dirty="0"/>
              <a:t>Is SPICT bekend bij de deelnemers?	</a:t>
            </a:r>
            <a:endParaRPr lang="nl-NL" dirty="0">
              <a:ea typeface="Calibri"/>
              <a:cs typeface="Calibri"/>
            </a:endParaRPr>
          </a:p>
          <a:p>
            <a:endParaRPr lang="nl-NL" dirty="0">
              <a:cs typeface="Calibri"/>
            </a:endParaRPr>
          </a:p>
          <a:p>
            <a:r>
              <a:rPr lang="nl-NL" dirty="0">
                <a:cs typeface="Calibri"/>
              </a:rPr>
              <a:t>Volgende dia: Aan de slag</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3673401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1: ‘De palliatieve fase van de ziekte begint’’.</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an de hand van een casus </a:t>
            </a:r>
          </a:p>
          <a:p>
            <a:endParaRPr lang="nl-NL">
              <a:cs typeface="Calibri"/>
            </a:endParaRPr>
          </a:p>
          <a:p>
            <a:r>
              <a:rPr lang="nl-NL" dirty="0">
                <a:cs typeface="Calibri"/>
              </a:rPr>
              <a:t>Inhoud: </a:t>
            </a:r>
          </a:p>
          <a:p>
            <a:r>
              <a:rPr lang="nl-NL" dirty="0">
                <a:cs typeface="Calibri"/>
              </a:rPr>
              <a:t>Licht de casus toe uit het boek ‘In gesprek over het leven en het einde’ </a:t>
            </a:r>
            <a:r>
              <a:rPr lang="nl-NL" dirty="0"/>
              <a:t>(Oskam et al., 2023)</a:t>
            </a:r>
            <a:r>
              <a:rPr lang="nl-NL" dirty="0">
                <a:cs typeface="Calibri"/>
              </a:rPr>
              <a:t>, hoofdstuk ‘Hoofdstuk 1: De palliatieve fase van de ziekte begint’.</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dirty="0">
                <a:cs typeface="Calibri" panose="020F0502020204030204"/>
              </a:rPr>
              <a:t>Volgende dia: vervolg van casus</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sz="1800" dirty="0">
                <a:cs typeface="Calibri"/>
              </a:rPr>
              <a:t>Inhoud: </a:t>
            </a:r>
          </a:p>
          <a:p>
            <a:r>
              <a:rPr lang="nl-NL" sz="1800" dirty="0">
                <a:cs typeface="Calibri"/>
              </a:rPr>
              <a:t>Licht de casus toe uit het boek ‘In gesprek over het leven en het einde’ (Oskam et al., 2023), hoofdstuk ‘Hoofdstuk 1: De palliatieve fase van de ziekte begint’.</a:t>
            </a:r>
            <a:endParaRPr lang="nl-NL" sz="1800" dirty="0"/>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dirty="0">
                <a:cs typeface="Calibri"/>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37352245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endParaRPr lang="nl-NL">
              <a:cs typeface="Calibri"/>
            </a:endParaRPr>
          </a:p>
          <a:p>
            <a:endParaRPr lang="nl-NL">
              <a:cs typeface="Calibri"/>
            </a:endParaRPr>
          </a:p>
          <a:p>
            <a:r>
              <a:rPr lang="nl-NL" dirty="0">
                <a:cs typeface="Calibri"/>
              </a:rPr>
              <a:t>Inhoud: </a:t>
            </a:r>
            <a:endParaRPr lang="nl-NL" dirty="0"/>
          </a:p>
          <a:p>
            <a:pPr>
              <a:lnSpc>
                <a:spcPct val="110000"/>
              </a:lnSpc>
              <a:spcAft>
                <a:spcPts val="1200"/>
              </a:spcAft>
            </a:pPr>
            <a:r>
              <a:rPr lang="nl-NL" dirty="0"/>
              <a:t>Bespreek in groepjes van 3 à 4 personen de volgende vragen: </a:t>
            </a:r>
            <a:endParaRPr lang="nl-NL" dirty="0">
              <a:cs typeface="Calibri" panose="020F0502020204030204"/>
            </a:endParaRPr>
          </a:p>
          <a:p>
            <a:pPr marL="342900" indent="-342900">
              <a:spcAft>
                <a:spcPts val="1200"/>
              </a:spcAft>
              <a:buAutoNum type="arabicPeriod"/>
            </a:pPr>
            <a:r>
              <a:rPr lang="nl-NL" sz="1800" dirty="0"/>
              <a:t>Waarom is tijdig markeren van de palliatieve fase belangrijk: </a:t>
            </a:r>
            <a:endParaRPr lang="nl-NL" sz="1800" dirty="0">
              <a:cs typeface="Calibri"/>
            </a:endParaRPr>
          </a:p>
          <a:p>
            <a:pPr marL="630555" lvl="1" indent="-342900">
              <a:spcAft>
                <a:spcPts val="1200"/>
              </a:spcAft>
              <a:buFont typeface="+mj-lt"/>
              <a:buAutoNum type="alphaLcParenR"/>
            </a:pPr>
            <a:r>
              <a:rPr lang="nl-NL" sz="1800" dirty="0"/>
              <a:t>Welke meerwaarde heeft dit voor de patiënt en diens naasten?</a:t>
            </a:r>
            <a:endParaRPr lang="nl-NL" sz="1800" dirty="0">
              <a:cs typeface="Calibri"/>
            </a:endParaRPr>
          </a:p>
          <a:p>
            <a:pPr marL="630555" lvl="1" indent="-342900">
              <a:spcAft>
                <a:spcPts val="1200"/>
              </a:spcAft>
              <a:buFont typeface="+mj-lt"/>
              <a:buAutoNum type="alphaLcParenR"/>
            </a:pPr>
            <a:r>
              <a:rPr lang="nl-NL" sz="1800" dirty="0"/>
              <a:t>En wat brengt het jou als zorgverlener?</a:t>
            </a:r>
            <a:endParaRPr lang="nl-NL" sz="1800" dirty="0">
              <a:cs typeface="Calibri"/>
            </a:endParaRPr>
          </a:p>
          <a:p>
            <a:pPr marL="288000" lvl="1" indent="0">
              <a:spcAft>
                <a:spcPts val="1200"/>
              </a:spcAft>
              <a:buNone/>
            </a:pPr>
            <a:endParaRPr lang="nl-NL" sz="1800"/>
          </a:p>
          <a:p>
            <a:pPr marL="342900" indent="-342900">
              <a:spcAft>
                <a:spcPts val="1200"/>
              </a:spcAft>
              <a:buAutoNum type="arabicPeriod"/>
            </a:pPr>
            <a:r>
              <a:rPr lang="nl-NL" sz="1800" dirty="0"/>
              <a:t>Wat vind je van de markering in de casus: </a:t>
            </a:r>
            <a:endParaRPr lang="nl-NL" sz="1800" dirty="0">
              <a:cs typeface="Calibri"/>
            </a:endParaRPr>
          </a:p>
          <a:p>
            <a:pPr marL="630555" lvl="1" indent="-342900">
              <a:spcAft>
                <a:spcPts val="1200"/>
              </a:spcAft>
              <a:buAutoNum type="alphaLcParenR"/>
            </a:pPr>
            <a:r>
              <a:rPr lang="nl-NL" sz="1800" dirty="0"/>
              <a:t>Is daar op het juiste moment (tijdig) gemarkeerd? </a:t>
            </a:r>
            <a:endParaRPr lang="nl-NL" sz="1800" dirty="0">
              <a:cs typeface="Calibri"/>
            </a:endParaRPr>
          </a:p>
          <a:p>
            <a:pPr marL="630555" lvl="1" indent="-342900">
              <a:spcAft>
                <a:spcPts val="1200"/>
              </a:spcAft>
              <a:buFont typeface="+mj-lt"/>
              <a:buAutoNum type="alphaLcParenR"/>
            </a:pPr>
            <a:r>
              <a:rPr lang="nl-NL" sz="1800" dirty="0"/>
              <a:t>Kun je ook ‘te vroeg’ zijn?</a:t>
            </a:r>
            <a:endParaRPr lang="nl-NL" sz="1800" dirty="0">
              <a:cs typeface="Calibri"/>
            </a:endParaRPr>
          </a:p>
          <a:p>
            <a:pPr marL="630555" lvl="1" indent="-342900">
              <a:spcAft>
                <a:spcPts val="1200"/>
              </a:spcAft>
              <a:buFont typeface="+mj-lt"/>
              <a:buAutoNum type="alphaLcParenR"/>
            </a:pPr>
            <a:r>
              <a:rPr lang="nl-NL" sz="1800" dirty="0"/>
              <a:t>Op welke manier had markering eerder plaats kunnen vinden? Wat was de meerwaarde daarvan geweest?</a:t>
            </a:r>
            <a:endParaRPr lang="nl-NL" sz="1800" dirty="0">
              <a:cs typeface="Calibri"/>
            </a:endParaRP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dirty="0"/>
              <a:t>Deelnemers kunnen de vragen beantwoorden vanuit verschillende invalshoeken:</a:t>
            </a:r>
            <a:endParaRPr lang="en-US" dirty="0"/>
          </a:p>
          <a:p>
            <a:pPr marL="342900" lvl="0" indent="-342900">
              <a:buFont typeface="Poppins" panose="00000500000000000000" pitchFamily="2" charset="0"/>
              <a:buChar char="•"/>
            </a:pPr>
            <a:r>
              <a:rPr lang="nl-NL"/>
              <a:t>Analytisch</a:t>
            </a:r>
          </a:p>
          <a:p>
            <a:pPr marL="342900" lvl="0" indent="-342900">
              <a:buFont typeface="Poppins" panose="00000500000000000000" pitchFamily="2" charset="0"/>
              <a:buChar char="•"/>
            </a:pPr>
            <a:r>
              <a:rPr lang="nl-NL"/>
              <a:t>Positief</a:t>
            </a:r>
          </a:p>
          <a:p>
            <a:pPr marL="342900" lvl="0" indent="-342900">
              <a:buFont typeface="Poppins" panose="00000500000000000000" pitchFamily="2" charset="0"/>
              <a:buChar char="•"/>
            </a:pPr>
            <a:r>
              <a:rPr lang="nl-NL"/>
              <a:t>Gevoelsmatig</a:t>
            </a: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dirty="0"/>
              <a:t>Gebruik hierbij als basis 3 van de denkhoeden van </a:t>
            </a:r>
            <a:r>
              <a:rPr lang="nl-NL" sz="1800" dirty="0" err="1">
                <a:cs typeface="Calibri"/>
              </a:rPr>
              <a:t>Bono</a:t>
            </a:r>
            <a:r>
              <a:rPr lang="nl-NL" sz="1800" dirty="0">
                <a:cs typeface="Calibri"/>
              </a:rPr>
              <a:t> (https://www.zesdenkhoeden.nl/</a:t>
            </a:r>
            <a:r>
              <a:rPr lang="nl-NL" sz="1800" dirty="0"/>
              <a:t>)</a:t>
            </a:r>
            <a:endParaRPr lang="nl-NL" sz="1800" dirty="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dirty="0">
                <a:cs typeface="Calibri"/>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600"/>
              </a:spcAft>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indent="-342900">
              <a:buFont typeface="Poppins,Sans-Serif"/>
              <a:buChar char="•"/>
            </a:pPr>
            <a:r>
              <a:rPr lang="nl-NL"/>
              <a:t>Analytisch</a:t>
            </a:r>
            <a:endParaRPr lang="nl-NL" dirty="0"/>
          </a:p>
          <a:p>
            <a:pPr marL="342900" indent="-342900">
              <a:buFont typeface="Poppins,Sans-Serif"/>
              <a:buChar char="•"/>
            </a:pPr>
            <a:r>
              <a:rPr lang="nl-NL"/>
              <a:t>Positief</a:t>
            </a:r>
            <a:endParaRPr lang="nl-NL" dirty="0"/>
          </a:p>
          <a:p>
            <a:pPr marL="342900" indent="-342900">
              <a:buFont typeface="Poppins,Sans-Serif"/>
              <a:buChar char="•"/>
            </a:pPr>
            <a:r>
              <a:rPr lang="nl-NL"/>
              <a:t>Gevoelsmatig</a:t>
            </a:r>
            <a:endParaRPr lang="nl-NL" dirty="0"/>
          </a:p>
          <a:p>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a:p>
          <a:p>
            <a:endParaRPr lang="nl-NL" dirty="0">
              <a:cs typeface="Calibri" panose="020F0502020204030204"/>
            </a:endParaRPr>
          </a:p>
          <a:p>
            <a:pPr>
              <a:lnSpc>
                <a:spcPct val="110000"/>
              </a:lnSpc>
              <a:spcAft>
                <a:spcPts val="600"/>
              </a:spcAft>
            </a:pPr>
            <a:r>
              <a:rPr lang="nl-NL">
                <a:cs typeface="Calibri" panose="020F0502020204030204"/>
              </a:rPr>
              <a:t>Volgende dia: Reflecteren op eigen handel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dirty="0"/>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dirty="0">
                <a:cs typeface="Calibri" panose="020F0502020204030204"/>
              </a:rPr>
              <a:t>Inhoud:</a:t>
            </a:r>
          </a:p>
          <a:p>
            <a:pPr>
              <a:lnSpc>
                <a:spcPct val="110000"/>
              </a:lnSpc>
              <a:spcAft>
                <a:spcPts val="600"/>
              </a:spcAft>
            </a:pPr>
            <a:r>
              <a:rPr lang="nl-NL" dirty="0"/>
              <a:t>Ga in kleine groepjes met elkaar in gesprek aan de hand van de volgende reflectievragen. Deelnemers kunnen ook zelf vragen aandragen. </a:t>
            </a:r>
            <a:endParaRPr lang="nl-NL" dirty="0">
              <a:cs typeface="Calibri"/>
            </a:endParaRPr>
          </a:p>
          <a:p>
            <a:pPr>
              <a:lnSpc>
                <a:spcPct val="110000"/>
              </a:lnSpc>
              <a:spcAft>
                <a:spcPts val="600"/>
              </a:spcAft>
            </a:pPr>
            <a:endParaRPr lang="en-US"/>
          </a:p>
          <a:p>
            <a:pPr>
              <a:lnSpc>
                <a:spcPct val="110000"/>
              </a:lnSpc>
              <a:spcAft>
                <a:spcPts val="600"/>
              </a:spcAft>
            </a:pPr>
            <a:r>
              <a:rPr lang="en-US" dirty="0" err="1">
                <a:cs typeface="Calibri"/>
              </a:rPr>
              <a:t>Voorbeelden</a:t>
            </a:r>
            <a:r>
              <a:rPr lang="en-US" dirty="0">
                <a:cs typeface="Calibri"/>
              </a:rPr>
              <a:t> van </a:t>
            </a:r>
            <a:r>
              <a:rPr lang="en-US" dirty="0" err="1">
                <a:cs typeface="Calibri"/>
              </a:rPr>
              <a:t>reflectievragen</a:t>
            </a:r>
            <a:r>
              <a:rPr lang="en-US" dirty="0">
                <a:cs typeface="Calibri"/>
              </a:rPr>
              <a:t>:</a:t>
            </a:r>
          </a:p>
          <a:p>
            <a:pPr>
              <a:lnSpc>
                <a:spcPct val="110000"/>
              </a:lnSpc>
              <a:spcAft>
                <a:spcPts val="600"/>
              </a:spcAft>
            </a:pPr>
            <a:endParaRPr lang="en-US" dirty="0">
              <a:cs typeface="Calibri"/>
            </a:endParaRPr>
          </a:p>
          <a:p>
            <a:pPr marL="171450" indent="-171450">
              <a:lnSpc>
                <a:spcPct val="110000"/>
              </a:lnSpc>
              <a:spcAft>
                <a:spcPts val="600"/>
              </a:spcAft>
              <a:buFont typeface="Arial"/>
              <a:buChar char="•"/>
            </a:pPr>
            <a:r>
              <a:rPr lang="nl-NL" dirty="0">
                <a:cs typeface="Calibri"/>
              </a:rPr>
              <a:t>Hoe maak jij het begin van de palliatieve fase bespreekbaar met de patiënt en diens naasten?</a:t>
            </a:r>
          </a:p>
          <a:p>
            <a:pPr marL="171450" indent="-171450">
              <a:lnSpc>
                <a:spcPct val="110000"/>
              </a:lnSpc>
              <a:spcAft>
                <a:spcPts val="600"/>
              </a:spcAft>
              <a:buFont typeface="Arial"/>
              <a:buChar char="•"/>
            </a:pPr>
            <a:r>
              <a:rPr lang="nl-NL" dirty="0">
                <a:cs typeface="Calibri"/>
              </a:rPr>
              <a:t>Wat is voor jou een aanleiding om jezelf de surprise question te stellen?</a:t>
            </a:r>
          </a:p>
          <a:p>
            <a:pPr marL="171450" indent="-171450">
              <a:lnSpc>
                <a:spcPct val="110000"/>
              </a:lnSpc>
              <a:spcAft>
                <a:spcPts val="600"/>
              </a:spcAft>
              <a:buFont typeface="Arial"/>
              <a:buChar char="•"/>
            </a:pPr>
            <a:r>
              <a:rPr lang="nl-NL" dirty="0">
                <a:cs typeface="Calibri"/>
              </a:rPr>
              <a:t>Wat is een signaal dat je tijdiger kan markeren en welke mogelijkheden zie je om dit te doen? </a:t>
            </a:r>
          </a:p>
          <a:p>
            <a:pPr marL="171450" indent="-171450">
              <a:lnSpc>
                <a:spcPct val="110000"/>
              </a:lnSpc>
              <a:spcAft>
                <a:spcPts val="600"/>
              </a:spcAft>
              <a:buFont typeface="Arial"/>
              <a:buChar char="•"/>
            </a:pPr>
            <a:r>
              <a:rPr lang="nl-NL" dirty="0">
                <a:cs typeface="Calibri"/>
              </a:rPr>
              <a:t>Vind je dat het begin van de palliatieve fase altijd moet worden besproken met de naasten? Hoe ga je ermee om als een patiënt dit niet wil?</a:t>
            </a:r>
          </a:p>
          <a:p>
            <a:pPr marL="171450" indent="-171450">
              <a:lnSpc>
                <a:spcPct val="110000"/>
              </a:lnSpc>
              <a:spcAft>
                <a:spcPts val="600"/>
              </a:spcAft>
              <a:buFont typeface="Arial"/>
              <a:buChar char="•"/>
            </a:pPr>
            <a:r>
              <a:rPr lang="nl-NL" dirty="0">
                <a:cs typeface="Calibri"/>
              </a:rPr>
              <a:t>Wat kan markering lastig maken; heb je een voorbeeld van een eigen ervaring waarin je dit lastig vond? Bijvoorbeeld bij bepaalde ziektebeelden? </a:t>
            </a:r>
          </a:p>
          <a:p>
            <a:pPr marL="0" indent="0">
              <a:lnSpc>
                <a:spcPct val="110000"/>
              </a:lnSpc>
              <a:spcAft>
                <a:spcPts val="600"/>
              </a:spcAft>
              <a:buFont typeface="Arial"/>
              <a:buNone/>
            </a:pPr>
            <a:endParaRPr lang="nl-NL">
              <a:cs typeface="Calibri"/>
            </a:endParaRPr>
          </a:p>
          <a:p>
            <a:pPr>
              <a:lnSpc>
                <a:spcPct val="110000"/>
              </a:lnSpc>
              <a:spcAft>
                <a:spcPts val="600"/>
              </a:spcAft>
            </a:pPr>
            <a:r>
              <a:rPr lang="nl-NL" dirty="0">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dirty="0">
                <a:cs typeface="Calibri"/>
              </a:rPr>
              <a:t>Inhoud: Bespreek plenair de inzichten die de deelnemers hebben opgedaan. Waar zijn ze achter gekomen? Wat zal je de volgende keer anders aanpakken? </a:t>
            </a:r>
            <a:endParaRPr lang="nl-NL" dirty="0">
              <a:ea typeface="Calibri"/>
              <a:cs typeface="Calibri"/>
            </a:endParaRPr>
          </a:p>
          <a:p>
            <a:endParaRPr lang="nl-NL">
              <a:cs typeface="Calibri"/>
            </a:endParaRPr>
          </a:p>
          <a:p>
            <a:r>
              <a:rPr lang="nl-NL" dirty="0">
                <a:cs typeface="Calibri"/>
              </a:rPr>
              <a:t>Zijn er nog vragen die niet aan de orde zijn gekomen? Kan iedereen zo verder? </a:t>
            </a:r>
            <a:endParaRPr lang="nl-NL" dirty="0">
              <a:ea typeface="Calibri"/>
              <a:cs typeface="Calibri"/>
            </a:endParaRPr>
          </a:p>
          <a:p>
            <a:endParaRPr lang="nl-NL">
              <a:cs typeface="Calibri"/>
            </a:endParaRPr>
          </a:p>
          <a:p>
            <a:r>
              <a:rPr lang="nl-NL" dirty="0">
                <a:cs typeface="Calibri"/>
              </a:rPr>
              <a:t>Ga ten slotte nog in op de </a:t>
            </a:r>
            <a:r>
              <a:rPr lang="nl-NL" u="sng" dirty="0">
                <a:cs typeface="Calibri"/>
              </a:rPr>
              <a:t>leerdoelen</a:t>
            </a:r>
            <a:r>
              <a:rPr lang="nl-NL" dirty="0">
                <a:cs typeface="Calibri"/>
              </a:rPr>
              <a:t>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dirty="0">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de trainer </a:t>
            </a:r>
          </a:p>
          <a:p>
            <a:endParaRPr lang="nl-NL" dirty="0">
              <a:ea typeface="Calibri" panose="020F0502020204030204"/>
              <a:cs typeface="Calibri" panose="020F0502020204030204"/>
            </a:endParaRPr>
          </a:p>
          <a:p>
            <a:r>
              <a:rPr lang="nl-NL" dirty="0">
                <a:ea typeface="Calibri" panose="020F0502020204030204"/>
                <a:cs typeface="Calibri" panose="020F0502020204030204"/>
              </a:rPr>
              <a:t>Meer informatie is te vinden via deze links. </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 toelichten</a:t>
            </a:r>
            <a:endParaRPr lang="nl-NL" dirty="0"/>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cs typeface="Calibri"/>
              </a:rPr>
              <a:t>Inhoud: In deze workshop gaan we aan de slag met het thema </a:t>
            </a:r>
            <a:r>
              <a:rPr lang="nl-NL" dirty="0"/>
              <a:t>Markering. Markering </a:t>
            </a:r>
            <a:r>
              <a:rPr lang="nl-NL" sz="1800" b="0" i="0" dirty="0">
                <a:solidFill>
                  <a:srgbClr val="000000"/>
                </a:solidFill>
                <a:effectLst/>
                <a:latin typeface="Calibri" panose="020F0502020204030204" pitchFamily="34" charset="0"/>
              </a:rPr>
              <a:t>is één van de acht essenties van het </a:t>
            </a:r>
            <a:r>
              <a:rPr lang="nl-NL" sz="1800" dirty="0">
                <a:hlinkClick r:id="rId3"/>
              </a:rPr>
              <a:t>Kwaliteitskader palliatieve zorg Nederland</a:t>
            </a:r>
            <a:r>
              <a:rPr lang="nl-NL" sz="1800" dirty="0"/>
              <a:t> (zie </a:t>
            </a:r>
            <a:r>
              <a:rPr lang="nl-NL" sz="2800" dirty="0">
                <a:hlinkClick r:id="rId4"/>
              </a:rPr>
              <a:t>Kwaliteitskader palliatieve zorg Nederland – </a:t>
            </a:r>
            <a:r>
              <a:rPr lang="nl-NL" sz="2800" dirty="0" err="1">
                <a:hlinkClick r:id="rId4"/>
              </a:rPr>
              <a:t>Palliaweb</a:t>
            </a:r>
            <a:r>
              <a:rPr lang="nl-NL" sz="2800" dirty="0"/>
              <a:t>)</a:t>
            </a:r>
            <a:endParaRPr lang="nl-NL" sz="18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r>
              <a:rPr lang="nl-NL" dirty="0">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dirty="0">
              <a:cs typeface="Calibri"/>
            </a:endParaRPr>
          </a:p>
          <a:p>
            <a:r>
              <a:rPr lang="nl-NL" dirty="0"/>
              <a:t>Het doel van deze workshops haakt aan de doelstelling van het Kwaliteitskader, namelijk het verbeteren van de palliatieve zorgverlening vanuit de beleving van de patiënt en zijn naaste(n). </a:t>
            </a:r>
            <a:r>
              <a:rPr lang="nl-NL" dirty="0">
                <a:cs typeface="Calibri"/>
              </a:rPr>
              <a:t>Iedereen welkom heten; kort voorstel rondje indien nodig. </a:t>
            </a:r>
          </a:p>
          <a:p>
            <a:endParaRPr lang="nl-NL" dirty="0">
              <a:cs typeface="Calibri"/>
            </a:endParaRPr>
          </a:p>
          <a:p>
            <a:r>
              <a:rPr lang="nl-NL" dirty="0">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a:t>
            </a:r>
            <a:endParaRPr lang="en-US" dirty="0"/>
          </a:p>
          <a:p>
            <a:r>
              <a:rPr lang="nl-NL" dirty="0">
                <a:cs typeface="Calibri"/>
              </a:rPr>
              <a:t>Inhoud: Bespreek wat we deze workshop allemaal gaan doen. Deze workshop gaat dus in op de essentie Markering. Jullie krijgen eerst inhoudelijke uitleg, dan gaan jullie zelf aan de slag en ten slotte zullen we reflecteren op ons eigen handelen</a:t>
            </a:r>
          </a:p>
          <a:p>
            <a:endParaRPr lang="nl-NL" dirty="0"/>
          </a:p>
          <a:p>
            <a:r>
              <a:rPr lang="nl-NL" dirty="0"/>
              <a:t>Volgende dia: Leerdoelen</a:t>
            </a:r>
            <a:endParaRPr lang="nl-NL" dirty="0">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 &amp; inbreng van deelnemers</a:t>
            </a:r>
            <a:endParaRPr lang="en-US" dirty="0"/>
          </a:p>
          <a:p>
            <a:r>
              <a:rPr lang="nl-NL" dirty="0">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dirty="0"/>
          </a:p>
          <a:p>
            <a:r>
              <a:rPr lang="nl-NL" dirty="0"/>
              <a:t>Volgende dia: Animatie Markering</a:t>
            </a:r>
            <a:endParaRPr lang="nl-NL" dirty="0">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 &amp; inbreng van deelnemers</a:t>
            </a:r>
            <a:endParaRPr lang="en-US" dirty="0"/>
          </a:p>
          <a:p>
            <a:r>
              <a:rPr lang="nl-NL" dirty="0">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dirty="0"/>
          </a:p>
          <a:p>
            <a:r>
              <a:rPr lang="nl-NL" dirty="0"/>
              <a:t>Volgende dia: Wat is markering?</a:t>
            </a:r>
            <a:endParaRPr lang="nl-NL" dirty="0">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p>
          <a:p>
            <a:pPr>
              <a:lnSpc>
                <a:spcPct val="110000"/>
              </a:lnSpc>
            </a:pPr>
            <a:r>
              <a:rPr lang="nl-NL" i="0" dirty="0">
                <a:cs typeface="Calibri"/>
              </a:rPr>
              <a:t>Deelnemers denken elk voor zich na over wat zij verstaan onder markering. </a:t>
            </a: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pPr>
            <a:endParaRPr lang="nl-NL" i="0" dirty="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dirty="0"/>
              <a:t>Volgende dia: Animatie marker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markering tonen door trainer</a:t>
            </a:r>
          </a:p>
          <a:p>
            <a:r>
              <a:rPr lang="nl-NL">
                <a:cs typeface="Calibri" panose="020F0502020204030204"/>
              </a:rPr>
              <a:t>Inhoud: De animatie geeft een korte samenvatting van markering.</a:t>
            </a:r>
          </a:p>
          <a:p>
            <a:endParaRPr lang="nl-NL">
              <a:cs typeface="Calibri" panose="020F0502020204030204"/>
            </a:endParaRPr>
          </a:p>
          <a:p>
            <a:r>
              <a:rPr lang="nl-NL" sz="1200" u="sng">
                <a:hlinkClick r:id="rId3"/>
              </a:rPr>
              <a:t>https://www.youtube.com/watch?v=nmoCJ7tr94c&amp;t=2s</a:t>
            </a:r>
            <a:endParaRPr lang="nl-NL" sz="1200" u="sng"/>
          </a:p>
          <a:p>
            <a:endParaRPr lang="nl-NL">
              <a:cs typeface="Calibri" panose="020F0502020204030204"/>
            </a:endParaRPr>
          </a:p>
          <a:p>
            <a:r>
              <a:rPr lang="nl-NL">
                <a:cs typeface="Calibri" panose="020F0502020204030204"/>
              </a:rPr>
              <a:t>Volgende dia: Essentie Marker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dirty="0"/>
          </a:p>
          <a:p>
            <a:pPr>
              <a:lnSpc>
                <a:spcPct val="110000"/>
              </a:lnSpc>
            </a:pPr>
            <a:r>
              <a:rPr lang="nl-NL" i="1" dirty="0"/>
              <a:t>Om tijdig de waarden, wensen en behoeften van patiënten te kennen en te kunnen starten met proactieve palliatieve zorg, is het belangrijk patiënten die een verhoogde kans hebben om achteruit te gaan en te overlijden </a:t>
            </a:r>
            <a:r>
              <a:rPr lang="nl-NL" b="1" i="1" dirty="0"/>
              <a:t>als palliatief te markeren</a:t>
            </a:r>
            <a:r>
              <a:rPr lang="nl-NL" i="1" dirty="0"/>
              <a:t>. Dit is belangrijk om de kwaliteit van leven en sterven te optimaliseren. Markering is een van de 8 essenties van het Kwaliteitskader Palliatieve Zorg Nederland.</a:t>
            </a:r>
            <a:endParaRPr lang="nl-NL" i="1" dirty="0">
              <a:cs typeface="Calibri"/>
            </a:endParaRPr>
          </a:p>
          <a:p>
            <a:pPr>
              <a:lnSpc>
                <a:spcPct val="110000"/>
              </a:lnSpc>
            </a:pPr>
            <a:endParaRPr lang="nl-NL" dirty="0">
              <a:cs typeface="Calibri"/>
            </a:endParaRPr>
          </a:p>
          <a:p>
            <a:pPr>
              <a:lnSpc>
                <a:spcPct val="110000"/>
              </a:lnSpc>
            </a:pPr>
            <a:r>
              <a:rPr lang="nl-NL" dirty="0">
                <a:cs typeface="Calibri"/>
              </a:rPr>
              <a:t>Geef met behulp van bovenstaande tekst aan wat markering in de palliatieve fase inhoudt. Licht ook de koppeling met het Kwaliteitskader toe. Begrijpt iedereen wat markering in de palliatieve fase inhoudt? </a:t>
            </a:r>
            <a:endParaRPr lang="nl-NL" dirty="0"/>
          </a:p>
          <a:p>
            <a:endParaRPr lang="nl-NL" dirty="0">
              <a:cs typeface="Calibri"/>
            </a:endParaRPr>
          </a:p>
          <a:p>
            <a:r>
              <a:rPr lang="nl-NL" dirty="0">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https://palliaweb.nl/getmedia/1637ff8c-ad59-4723-bc40-509df3a868b4/Meetinstrument_SPICT_NL_May2017.pdf" TargetMode="Externa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hyperlink" Target="https://app.springcast.fm/17076/palliapodcast-1-de-palliatieve-fase-van-de-ziekte-begint" TargetMode="External"/><Relationship Id="rId13" Type="http://schemas.openxmlformats.org/officeDocument/2006/relationships/hyperlink" Target="https://palliaweb.nl/meetinstrument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overzichtspagina-hulpmiddelen/surprise-question-en-dubbele-surprise-question" TargetMode="External"/><Relationship Id="rId12" Type="http://schemas.openxmlformats.org/officeDocument/2006/relationships/hyperlink" Target="https://palliaweb.nl/zorgpraktijk/meetinstrumenten-palliatieve-zorg"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palliaweb.nl/getmedia/1637ff8c-ad59-4723-bc40-509df3a868b4/Meetinstrument_SPICT_NL_May2017.pdf" TargetMode="External"/><Relationship Id="rId11" Type="http://schemas.openxmlformats.org/officeDocument/2006/relationships/hyperlink" Target="https://palliaweb.nl/overzichtspagina-hulpmiddelen?searchText=&amp;categoryids=688#submit-scroll-anchor" TargetMode="External"/><Relationship Id="rId5" Type="http://schemas.openxmlformats.org/officeDocument/2006/relationships/hyperlink" Target="https://palliaweb.nl/zorgpraktijk/markering" TargetMode="External"/><Relationship Id="rId10" Type="http://schemas.openxmlformats.org/officeDocument/2006/relationships/hyperlink" Target="https://www.youtube.com/@stichting_pznl"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www.youtube.com/watch?v=nmoCJ7tr94c" TargetMode="Externa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www.youtube.com/watch?v=nmoCJ7tr94c&amp;t=2s"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7771" y="5210113"/>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Markering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b="1"/>
              <a:t>Markering</a:t>
            </a:r>
            <a:endParaRPr lang="nl-NL" sz="1800" b="1">
              <a:cs typeface="Poppins"/>
            </a:endParaRPr>
          </a:p>
          <a:p>
            <a:pPr marL="450850" indent="-285750">
              <a:lnSpc>
                <a:spcPct val="150000"/>
              </a:lnSpc>
              <a:buFont typeface="Arial" panose="020B0604020202020204" pitchFamily="34" charset="0"/>
              <a:buChar char="•"/>
            </a:pPr>
            <a:r>
              <a:rPr lang="nl-NL" sz="1800"/>
              <a:t>Gezamenlijke besluitvorming</a:t>
            </a:r>
            <a:endParaRPr lang="nl-NL" sz="1800">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139321"/>
          </a:xfrm>
          <a:prstGeom prst="rect">
            <a:avLst/>
          </a:prstGeom>
          <a:noFill/>
        </p:spPr>
        <p:txBody>
          <a:bodyPr wrap="square" rtlCol="0">
            <a:spAutoFit/>
          </a:bodyPr>
          <a:lstStyle/>
          <a:p>
            <a:pPr>
              <a:lnSpc>
                <a:spcPct val="150000"/>
              </a:lnSpc>
            </a:pPr>
            <a:r>
              <a:rPr lang="nl-NL" i="0" dirty="0"/>
              <a:t>Een hulpmiddel om de palliatieve fase tijdig te herkennen, is jezelf – bijvoorbeeld bij een nieuwe complicatie of bij toename van ziekte of kwetsbaarheid – de </a:t>
            </a:r>
            <a:r>
              <a:rPr lang="nl-NL" b="1" i="0" dirty="0"/>
              <a:t>surprise question </a:t>
            </a:r>
            <a:r>
              <a:rPr lang="nl-NL" i="0" dirty="0"/>
              <a:t>te stellen:</a:t>
            </a:r>
          </a:p>
          <a:p>
            <a:pPr>
              <a:lnSpc>
                <a:spcPct val="150000"/>
              </a:lnSpc>
            </a:pPr>
            <a:endParaRPr lang="nl-NL" dirty="0"/>
          </a:p>
          <a:p>
            <a:pPr>
              <a:lnSpc>
                <a:spcPct val="150000"/>
              </a:lnSpc>
            </a:pPr>
            <a:r>
              <a:rPr lang="nl-NL" i="1" dirty="0"/>
              <a:t>'Zou het mij verbazen als deze patiënt in de komende 12 maanden komt te overlijden?’</a:t>
            </a:r>
          </a:p>
          <a:p>
            <a:endParaRPr lang="nl-NL" i="1" dirty="0"/>
          </a:p>
          <a:p>
            <a:endParaRPr lang="nl-NL" i="1" dirty="0"/>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2001649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ubbele surprise question </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28072" y="2107765"/>
            <a:ext cx="9227127" cy="3277820"/>
          </a:xfrm>
          <a:prstGeom prst="rect">
            <a:avLst/>
          </a:prstGeom>
          <a:noFill/>
        </p:spPr>
        <p:txBody>
          <a:bodyPr wrap="square" lIns="91440" tIns="45720" rIns="91440" bIns="45720" rtlCol="0" anchor="t">
            <a:spAutoFit/>
          </a:bodyPr>
          <a:lstStyle/>
          <a:p>
            <a:pPr>
              <a:lnSpc>
                <a:spcPct val="150000"/>
              </a:lnSpc>
            </a:pPr>
            <a:r>
              <a:rPr lang="nl-NL" dirty="0"/>
              <a:t>Als het antwoord op de surprise question is: ‘het zou me </a:t>
            </a:r>
            <a:r>
              <a:rPr lang="nl-NL" u="sng" dirty="0"/>
              <a:t>niet</a:t>
            </a:r>
            <a:r>
              <a:rPr lang="nl-NL" dirty="0"/>
              <a:t> verbazen als deze patiënt in de komende 12 maanden komt te overlijden’, kun je jezelf ook de vervolgvraag stellen:</a:t>
            </a:r>
          </a:p>
          <a:p>
            <a:pPr>
              <a:lnSpc>
                <a:spcPct val="150000"/>
              </a:lnSpc>
            </a:pPr>
            <a:endParaRPr lang="nl-NL" dirty="0"/>
          </a:p>
          <a:p>
            <a:pPr>
              <a:lnSpc>
                <a:spcPct val="150000"/>
              </a:lnSpc>
            </a:pPr>
            <a:r>
              <a:rPr lang="nl-NL" i="1" dirty="0"/>
              <a:t>'Zou het mij verbazen als deze patiënt over een jaar nog leeft?’</a:t>
            </a:r>
            <a:endParaRPr lang="nl-NL" i="1" dirty="0">
              <a:cs typeface="Poppins"/>
            </a:endParaRPr>
          </a:p>
          <a:p>
            <a:pPr>
              <a:lnSpc>
                <a:spcPct val="150000"/>
              </a:lnSpc>
            </a:pPr>
            <a:endParaRPr lang="nl-NL" i="1" dirty="0"/>
          </a:p>
          <a:p>
            <a:pPr>
              <a:lnSpc>
                <a:spcPct val="150000"/>
              </a:lnSpc>
            </a:pPr>
            <a:r>
              <a:rPr lang="nl-NL" dirty="0"/>
              <a:t>De combinatie van deze twee vragen heet de </a:t>
            </a:r>
            <a:r>
              <a:rPr lang="nl-NL" b="1" dirty="0"/>
              <a:t>dubbele surprise question</a:t>
            </a:r>
            <a:r>
              <a:rPr lang="nl-NL" dirty="0"/>
              <a:t>.</a:t>
            </a:r>
            <a:endParaRPr lang="nl-NL" dirty="0">
              <a:cs typeface="Poppins"/>
            </a:endParaRPr>
          </a:p>
          <a:p>
            <a:endParaRPr lang="nl-NL" i="1" dirty="0"/>
          </a:p>
        </p:txBody>
      </p:sp>
      <p:pic>
        <p:nvPicPr>
          <p:cNvPr id="10" name="Afbeelding 9">
            <a:extLst>
              <a:ext uri="{FF2B5EF4-FFF2-40B4-BE49-F238E27FC236}">
                <a16:creationId xmlns:a16="http://schemas.microsoft.com/office/drawing/2014/main" id="{BECE2B37-A7D4-DE1D-F3DC-BAEAF96DE294}"/>
              </a:ext>
            </a:extLst>
          </p:cNvPr>
          <p:cNvPicPr>
            <a:picLocks noChangeAspect="1"/>
          </p:cNvPicPr>
          <p:nvPr/>
        </p:nvPicPr>
        <p:blipFill>
          <a:blip r:embed="rId3">
            <a:duotone>
              <a:schemeClr val="accent1">
                <a:shade val="45000"/>
                <a:satMod val="135000"/>
              </a:schemeClr>
              <a:prstClr val="white"/>
            </a:duotone>
          </a:blip>
          <a:stretch>
            <a:fillRect/>
          </a:stretch>
        </p:blipFill>
        <p:spPr>
          <a:xfrm>
            <a:off x="10014193" y="2113598"/>
            <a:ext cx="1482481" cy="1482481"/>
          </a:xfrm>
          <a:prstGeom prst="rect">
            <a:avLst/>
          </a:prstGeom>
          <a:solidFill>
            <a:schemeClr val="accent2"/>
          </a:solidFill>
        </p:spPr>
      </p:pic>
    </p:spTree>
    <p:extLst>
      <p:ext uri="{BB962C8B-B14F-4D97-AF65-F5344CB8AC3E}">
        <p14:creationId xmlns:p14="http://schemas.microsoft.com/office/powerpoint/2010/main" val="1126675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err="1"/>
              <a:t>Supportive</a:t>
            </a:r>
            <a:r>
              <a:rPr lang="nl-NL" sz="3200"/>
              <a:t> Care Indicators Tool (SPIC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2" name="Tekstvak 1">
            <a:extLst>
              <a:ext uri="{FF2B5EF4-FFF2-40B4-BE49-F238E27FC236}">
                <a16:creationId xmlns:a16="http://schemas.microsoft.com/office/drawing/2014/main" id="{F82BF295-56C7-8388-592E-9A77F8203A39}"/>
              </a:ext>
            </a:extLst>
          </p:cNvPr>
          <p:cNvSpPr txBox="1"/>
          <p:nvPr/>
        </p:nvSpPr>
        <p:spPr>
          <a:xfrm>
            <a:off x="628072" y="2107765"/>
            <a:ext cx="10095346" cy="3377078"/>
          </a:xfrm>
          <a:prstGeom prst="rect">
            <a:avLst/>
          </a:prstGeom>
          <a:noFill/>
        </p:spPr>
        <p:txBody>
          <a:bodyPr wrap="square" lIns="91440" tIns="45720" rIns="91440" bIns="45720" rtlCol="0" anchor="t">
            <a:spAutoFit/>
          </a:bodyPr>
          <a:lstStyle/>
          <a:p>
            <a:pPr>
              <a:lnSpc>
                <a:spcPct val="150000"/>
              </a:lnSpc>
            </a:pPr>
            <a:r>
              <a:rPr lang="nl-NL" dirty="0"/>
              <a:t>Een ander hulpmiddel is de </a:t>
            </a:r>
            <a:r>
              <a:rPr lang="nl-NL" i="1" dirty="0" err="1"/>
              <a:t>Supportive</a:t>
            </a:r>
            <a:r>
              <a:rPr lang="nl-NL" i="1" dirty="0"/>
              <a:t> Care Indicators Tool (</a:t>
            </a:r>
            <a:r>
              <a:rPr lang="nl-NL" b="1" i="1" dirty="0"/>
              <a:t>SPICT</a:t>
            </a:r>
            <a:r>
              <a:rPr lang="nl-NL" i="1" dirty="0"/>
              <a:t>): </a:t>
            </a:r>
            <a:br>
              <a:rPr lang="nl-NL" i="1" dirty="0"/>
            </a:br>
            <a:r>
              <a:rPr lang="nl-NL" dirty="0"/>
              <a:t>een handreiking voor zorgverleners in de eerste- en </a:t>
            </a:r>
            <a:r>
              <a:rPr lang="nl-NL" dirty="0" err="1"/>
              <a:t>tweedelijn</a:t>
            </a:r>
            <a:r>
              <a:rPr lang="nl-NL" dirty="0"/>
              <a:t> om </a:t>
            </a:r>
            <a:r>
              <a:rPr lang="nl-NL" b="1" dirty="0"/>
              <a:t>patiënten te markeren </a:t>
            </a:r>
            <a:r>
              <a:rPr lang="nl-NL" dirty="0"/>
              <a:t>die een verhoogd risico hebben op achteruitgang van hun gezondheid.</a:t>
            </a:r>
          </a:p>
          <a:p>
            <a:pPr>
              <a:lnSpc>
                <a:spcPct val="150000"/>
              </a:lnSpc>
            </a:pPr>
            <a:endParaRPr lang="nl-NL" dirty="0"/>
          </a:p>
          <a:p>
            <a:pPr>
              <a:lnSpc>
                <a:spcPct val="150000"/>
              </a:lnSpc>
            </a:pPr>
            <a:r>
              <a:rPr lang="nl-NL" dirty="0"/>
              <a:t>De SPICT is bedoeld om de onvervulde behoeften aan ondersteunende en palliatieve zorg bij deze patiënten te inventariseren en een zorgplan te maken. </a:t>
            </a:r>
          </a:p>
          <a:p>
            <a:pPr>
              <a:lnSpc>
                <a:spcPct val="150000"/>
              </a:lnSpc>
            </a:pPr>
            <a:endParaRPr lang="nl-NL" dirty="0">
              <a:cs typeface="Poppins"/>
            </a:endParaRPr>
          </a:p>
          <a:p>
            <a:pPr>
              <a:lnSpc>
                <a:spcPct val="150000"/>
              </a:lnSpc>
            </a:pPr>
            <a:r>
              <a:rPr lang="nl-NL" dirty="0">
                <a:cs typeface="Poppins"/>
                <a:hlinkClick r:id="rId3"/>
              </a:rPr>
              <a:t>-&gt; SPICT [Palliaweb]</a:t>
            </a:r>
            <a:endParaRPr lang="nl-NL" dirty="0">
              <a:cs typeface="Poppins"/>
            </a:endParaRPr>
          </a:p>
        </p:txBody>
      </p:sp>
    </p:spTree>
    <p:extLst>
      <p:ext uri="{BB962C8B-B14F-4D97-AF65-F5344CB8AC3E}">
        <p14:creationId xmlns:p14="http://schemas.microsoft.com/office/powerpoint/2010/main" val="786209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2" name="Afbeelding 1" descr="Afbeelding met tekst, brief, handschrift, papier&#10;&#10;Automatisch gegenereerde beschrijving">
            <a:extLst>
              <a:ext uri="{FF2B5EF4-FFF2-40B4-BE49-F238E27FC236}">
                <a16:creationId xmlns:a16="http://schemas.microsoft.com/office/drawing/2014/main" id="{4E2CE384-523A-237E-3583-0107EDB0AAF1}"/>
              </a:ext>
            </a:extLst>
          </p:cNvPr>
          <p:cNvPicPr>
            <a:picLocks noChangeAspect="1"/>
          </p:cNvPicPr>
          <p:nvPr/>
        </p:nvPicPr>
        <p:blipFill>
          <a:blip r:embed="rId3"/>
          <a:stretch>
            <a:fillRect/>
          </a:stretch>
        </p:blipFill>
        <p:spPr>
          <a:xfrm>
            <a:off x="6630701" y="857023"/>
            <a:ext cx="3769363" cy="5143954"/>
          </a:xfrm>
          <a:prstGeom prst="rect">
            <a:avLst/>
          </a:prstGeom>
          <a:effectLst>
            <a:outerShdw blurRad="165100">
              <a:srgbClr val="000000">
                <a:alpha val="62000"/>
              </a:srgbClr>
            </a:outerShdw>
          </a:effectLst>
        </p:spPr>
      </p:pic>
    </p:spTree>
    <p:extLst>
      <p:ext uri="{BB962C8B-B14F-4D97-AF65-F5344CB8AC3E}">
        <p14:creationId xmlns:p14="http://schemas.microsoft.com/office/powerpoint/2010/main" val="3113140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16962"/>
            <a:ext cx="7064641" cy="511746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cs typeface="Poppins"/>
              </a:rPr>
              <a:t>Casus op basis van korte samenvatting uit het boek: ‘In gesprek over het leven en het einde’*, hoofdstuk 1:</a:t>
            </a:r>
            <a:endParaRPr lang="nl-NL" sz="1600" dirty="0">
              <a:cs typeface="Poppins"/>
            </a:endParaRPr>
          </a:p>
          <a:p>
            <a:pPr marL="0" indent="0">
              <a:lnSpc>
                <a:spcPct val="120000"/>
              </a:lnSpc>
              <a:spcAft>
                <a:spcPts val="1200"/>
              </a:spcAft>
              <a:buNone/>
            </a:pPr>
            <a:r>
              <a:rPr lang="nl-NL" sz="1600" dirty="0">
                <a:cs typeface="Poppins"/>
              </a:rPr>
              <a:t>Jeanet (59) heeft ernstig astma met hyperreactiviteit die nauwelijks onder controle te krijgen is. Ze wordt van veel dingen benauwd: uitlaatgassen, rook, parfum, weersomstandigheden zoals kou, mist en vochtige lucht, maar ook van eten koken op gas, huisstofmijt, wol en allerlei dieren. Jeanet heeft regelmatig drie astma-aanvallen per nacht en slaapt weinig. De situatie is heel onvoorspelbaar. In een uur tijd kan het van goed naar heel slecht gaan. </a:t>
            </a:r>
          </a:p>
          <a:p>
            <a:pPr marL="0" indent="0">
              <a:lnSpc>
                <a:spcPct val="120000"/>
              </a:lnSpc>
              <a:spcAft>
                <a:spcPts val="1200"/>
              </a:spcAft>
              <a:buNone/>
            </a:pPr>
            <a:r>
              <a:rPr lang="nl-NL" sz="1600" dirty="0">
                <a:cs typeface="Poppins"/>
              </a:rPr>
              <a:t>Als ze rond de 40 jaar is, zegt haar arts plotseling: ‘Je wordt een jaar of 60’. Jeanet is verbaasd en begrijpt niet waar deze mededeling vandaan komt. Ze vroeg hier niet naar en is er beduusd van.</a:t>
            </a:r>
          </a:p>
          <a:p>
            <a:pPr marL="0" indent="0">
              <a:lnSpc>
                <a:spcPct val="100000"/>
              </a:lnSpc>
              <a:spcAft>
                <a:spcPts val="1200"/>
              </a:spcAft>
              <a:buNone/>
            </a:pPr>
            <a:endParaRPr lang="nl-NL" sz="1600" i="1" dirty="0">
              <a:cs typeface="Poppins"/>
            </a:endParaRPr>
          </a:p>
          <a:p>
            <a:pPr marL="0" indent="0">
              <a:lnSpc>
                <a:spcPct val="120000"/>
              </a:lnSpc>
              <a:spcAft>
                <a:spcPts val="1200"/>
              </a:spcAft>
              <a:buNone/>
            </a:pPr>
            <a:r>
              <a:rPr lang="nl-NL" sz="1400" i="1" dirty="0">
                <a:cs typeface="Poppins"/>
              </a:rPr>
              <a:t>De casus gaat verder op de volgende dia</a:t>
            </a:r>
          </a:p>
          <a:p>
            <a:pPr marL="0" indent="0">
              <a:lnSpc>
                <a:spcPct val="120000"/>
              </a:lnSpc>
              <a:spcAft>
                <a:spcPts val="1200"/>
              </a:spcAft>
              <a:buNone/>
            </a:pPr>
            <a:r>
              <a:rPr lang="nl-NL" sz="1000" i="1" dirty="0">
                <a:cs typeface="Poppins"/>
              </a:rPr>
              <a:t>*Oskam et al., 2023</a:t>
            </a:r>
          </a:p>
        </p:txBody>
      </p:sp>
      <p:pic>
        <p:nvPicPr>
          <p:cNvPr id="3" name="Afbeelding 2" descr="Afbeelding met tekst, tekening, schets, brief&#10;&#10;Automatisch gegenereerde beschrijving">
            <a:extLst>
              <a:ext uri="{FF2B5EF4-FFF2-40B4-BE49-F238E27FC236}">
                <a16:creationId xmlns:a16="http://schemas.microsoft.com/office/drawing/2014/main" id="{1D63B966-5B67-8691-6C69-A498334994BA}"/>
              </a:ext>
            </a:extLst>
          </p:cNvPr>
          <p:cNvPicPr>
            <a:picLocks noChangeAspect="1"/>
          </p:cNvPicPr>
          <p:nvPr/>
        </p:nvPicPr>
        <p:blipFill>
          <a:blip r:embed="rId3">
            <a:extLst>
              <a:ext uri="{28A0092B-C50C-407E-A947-70E740481C1C}">
                <a14:useLocalDpi xmlns:a14="http://schemas.microsoft.com/office/drawing/2010/main" val="0"/>
              </a:ext>
            </a:extLst>
          </a:blip>
          <a:srcRect b="1110"/>
          <a:stretch/>
        </p:blipFill>
        <p:spPr>
          <a:xfrm>
            <a:off x="7769492" y="813987"/>
            <a:ext cx="3736709" cy="5230025"/>
          </a:xfrm>
          <a:prstGeom prst="rect">
            <a:avLst/>
          </a:prstGeom>
        </p:spPr>
      </p:pic>
    </p:spTree>
    <p:extLst>
      <p:ext uri="{BB962C8B-B14F-4D97-AF65-F5344CB8AC3E}">
        <p14:creationId xmlns:p14="http://schemas.microsoft.com/office/powerpoint/2010/main" val="1329402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56522"/>
            <a:ext cx="10941049" cy="4345376"/>
          </a:xfrm>
          <a:prstGeom prst="rect">
            <a:avLst/>
          </a:prstGeom>
        </p:spPr>
        <p:txBody>
          <a:bodyPr vert="horz" lIns="0" tIns="0" rIns="0" bIns="0" rtlCol="0" anchor="t">
            <a:noAutofit/>
          </a:bodyPr>
          <a:lstStyle>
            <a:defPPr>
              <a:defRPr lang="nl-NL"/>
            </a:defPPr>
            <a:lvl1pPr indent="0">
              <a:lnSpc>
                <a:spcPct val="120000"/>
              </a:lnSpc>
              <a:spcBef>
                <a:spcPts val="0"/>
              </a:spcBef>
              <a:spcAft>
                <a:spcPts val="1200"/>
              </a:spcAft>
              <a:buFont typeface="Arial" panose="020B0604020202020204" pitchFamily="34" charset="0"/>
              <a:buNone/>
              <a:defRPr sz="1600">
                <a:cs typeface="Poppins"/>
              </a:defRPr>
            </a:lvl1pPr>
            <a:lvl2pPr marL="576000" indent="-288000">
              <a:lnSpc>
                <a:spcPct val="110000"/>
              </a:lnSpc>
              <a:spcBef>
                <a:spcPts val="0"/>
              </a:spcBef>
              <a:buClr>
                <a:schemeClr val="accent2"/>
              </a:buClr>
              <a:buFont typeface="Arial" panose="020B0604020202020204" pitchFamily="34" charset="0"/>
              <a:buChar char="•"/>
              <a:defRPr sz="1200"/>
            </a:lvl2pPr>
            <a:lvl3pPr marL="864000" indent="-288000">
              <a:lnSpc>
                <a:spcPct val="110000"/>
              </a:lnSpc>
              <a:spcBef>
                <a:spcPts val="0"/>
              </a:spcBef>
              <a:buClr>
                <a:schemeClr val="accent3"/>
              </a:buClr>
              <a:buFont typeface="Arial" panose="020B0604020202020204" pitchFamily="34" charset="0"/>
              <a:buChar char="•"/>
              <a:defRPr sz="1200"/>
            </a:lvl3pPr>
            <a:lvl4pPr marL="0" indent="0">
              <a:lnSpc>
                <a:spcPct val="110000"/>
              </a:lnSpc>
              <a:spcBef>
                <a:spcPts val="0"/>
              </a:spcBef>
              <a:buFont typeface="Arial" panose="020B0604020202020204" pitchFamily="34" charset="0"/>
              <a:buNone/>
              <a:defRPr sz="1600" b="1">
                <a:latin typeface="+mj-lt"/>
              </a:defRPr>
            </a:lvl4pPr>
            <a:lvl5pPr marL="0" indent="0">
              <a:lnSpc>
                <a:spcPct val="110000"/>
              </a:lnSpc>
              <a:spcBef>
                <a:spcPts val="0"/>
              </a:spcBef>
              <a:buFont typeface="+mj-lt"/>
              <a:buNone/>
              <a:defRPr sz="1600" b="1">
                <a:solidFill>
                  <a:schemeClr val="accent2"/>
                </a:solidFill>
              </a:defRPr>
            </a:lvl5pPr>
            <a:lvl6pPr marL="0" indent="0">
              <a:lnSpc>
                <a:spcPct val="110000"/>
              </a:lnSpc>
              <a:spcBef>
                <a:spcPts val="0"/>
              </a:spcBef>
              <a:buFont typeface="+mj-lt"/>
              <a:buNone/>
              <a:defRPr sz="1200">
                <a:latin typeface="Poppins Medium" panose="00000600000000000000" pitchFamily="2" charset="0"/>
                <a:cs typeface="Poppins Medium" panose="00000600000000000000" pitchFamily="2" charset="0"/>
              </a:defRPr>
            </a:lvl6pPr>
            <a:lvl7pPr marL="0" indent="0">
              <a:lnSpc>
                <a:spcPct val="110000"/>
              </a:lnSpc>
              <a:spcBef>
                <a:spcPts val="0"/>
              </a:spcBef>
              <a:buFont typeface="+mj-lt"/>
              <a:buNone/>
              <a:defRPr sz="1200">
                <a:solidFill>
                  <a:schemeClr val="accent2"/>
                </a:solidFill>
                <a:latin typeface="Poppins Medium" panose="00000600000000000000" pitchFamily="2" charset="0"/>
                <a:cs typeface="Poppins Medium" panose="00000600000000000000" pitchFamily="2" charset="0"/>
              </a:defRPr>
            </a:lvl7pPr>
            <a:lvl8pPr marL="288000" indent="-288000">
              <a:lnSpc>
                <a:spcPct val="110000"/>
              </a:lnSpc>
              <a:spcBef>
                <a:spcPts val="0"/>
              </a:spcBef>
              <a:buFont typeface="+mj-lt"/>
              <a:buAutoNum type="arabicPeriod"/>
              <a:defRPr sz="1200"/>
            </a:lvl8pPr>
            <a:lvl9pPr marL="0" indent="0">
              <a:lnSpc>
                <a:spcPct val="110000"/>
              </a:lnSpc>
              <a:spcBef>
                <a:spcPts val="0"/>
              </a:spcBef>
              <a:buFont typeface="Segoe UI" panose="020B0502040204020203" pitchFamily="34" charset="0"/>
              <a:buNone/>
              <a:defRPr sz="800"/>
            </a:lvl9pPr>
          </a:lstStyle>
          <a:p>
            <a:r>
              <a:rPr lang="nl-NL" sz="1400" i="1" dirty="0"/>
              <a:t>Vervolg van casus: </a:t>
            </a:r>
            <a:endParaRPr lang="nl-NL" sz="1400" i="1" dirty="0">
              <a:solidFill>
                <a:srgbClr val="173395"/>
              </a:solidFill>
            </a:endParaRPr>
          </a:p>
          <a:p>
            <a:r>
              <a:rPr lang="nl-NL" dirty="0"/>
              <a:t>Deze opmerking houdt haar lang bezig. Jeanet houdt het een lange tijd voor zich en deelt het niet met haar man, kinderen en vrienden. Het zou hen alleen maar onrustig maken, denkt ze. </a:t>
            </a:r>
          </a:p>
          <a:p>
            <a:r>
              <a:rPr lang="nl-NL" dirty="0"/>
              <a:t>Na een goede periode wordt Jeanet plotseling erg benauwd. Omdat haar longarts geen dienst heeft, belt ze de huisarts. Binnen 15 minuten ligt ze op de Spoedeisende Eerste Hulp (SEH). Daar volgt een markeringsgesprek met een arts. Als haar toestand stabiel is, geeft de arts aan dat ze met Jeanet in gesprek wil over haar wensen m.b.t. wel/niet reanimeren, wel/niet naar de Intensive Care (IC), wel/niet beademen. Jeanet heeft daar een idee over en dat wordt in het gesprek iets bijgesteld. Ze is blij met de tijd die de arts neemt voor haar en haar man, maar vindt ook dat dit gesprek al veel eerder gevoerd had kunnen worden.</a:t>
            </a:r>
          </a:p>
          <a:p>
            <a:r>
              <a:rPr lang="nl-NL" dirty="0"/>
              <a:t>Na deze opname gaat ze met haar huisarts in gesprek om haar wensen en voorkeuren vast te leggen. Hij heeft moeite met haar keuze dat ze zich niet wil laten reanimeren vanwege haar relatief jonge leeftijd. Toch blijft Jeanet achter haar keuze staan. </a:t>
            </a:r>
          </a:p>
          <a:p>
            <a:endParaRPr lang="nl-NL" dirty="0"/>
          </a:p>
        </p:txBody>
      </p:sp>
    </p:spTree>
    <p:extLst>
      <p:ext uri="{BB962C8B-B14F-4D97-AF65-F5344CB8AC3E}">
        <p14:creationId xmlns:p14="http://schemas.microsoft.com/office/powerpoint/2010/main" val="7424505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spcAft>
                <a:spcPts val="1200"/>
              </a:spcAft>
              <a:buAutoNum type="arabicPeriod"/>
            </a:pPr>
            <a:r>
              <a:rPr lang="nl-NL" sz="1800"/>
              <a:t>Waarom is tijdig markeren van de palliatieve fase belangrijk: </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288000" lvl="1" indent="0">
              <a:spcAft>
                <a:spcPts val="1200"/>
              </a:spcAft>
              <a:buNone/>
            </a:pPr>
            <a:endParaRPr lang="nl-NL" sz="1800"/>
          </a:p>
          <a:p>
            <a:pPr marL="342900" indent="-342900">
              <a:spcAft>
                <a:spcPts val="1200"/>
              </a:spcAft>
              <a:buAutoNum type="arabicPeriod"/>
            </a:pPr>
            <a:r>
              <a:rPr lang="nl-NL" sz="1800"/>
              <a:t>Wat vind je van de markering in de casus: </a:t>
            </a:r>
          </a:p>
          <a:p>
            <a:pPr marL="630900" lvl="1" indent="-342900">
              <a:spcAft>
                <a:spcPts val="1200"/>
              </a:spcAft>
              <a:buAutoNum type="alphaLcParenR"/>
            </a:pPr>
            <a:r>
              <a:rPr lang="nl-NL" sz="1800"/>
              <a:t>Is daar op het juiste moment (tijdig) gemarkeerd? </a:t>
            </a:r>
          </a:p>
          <a:p>
            <a:pPr marL="630900" lvl="1" indent="-342900">
              <a:spcAft>
                <a:spcPts val="1200"/>
              </a:spcAft>
              <a:buFont typeface="+mj-lt"/>
              <a:buAutoNum type="alphaLcParenR"/>
            </a:pPr>
            <a:r>
              <a:rPr lang="nl-NL" sz="1800"/>
              <a:t>Kun je ook ‘te vroeg’ zijn?</a:t>
            </a:r>
          </a:p>
          <a:p>
            <a:pPr marL="630900" lvl="1" indent="-342900">
              <a:spcAft>
                <a:spcPts val="1200"/>
              </a:spcAft>
              <a:buFont typeface="+mj-lt"/>
              <a:buAutoNum type="alphaLcParenR"/>
            </a:pPr>
            <a:r>
              <a:rPr lang="nl-NL" sz="1800"/>
              <a:t>Op welke manier had markering eerder plaats kunnen vinden? Wat was de meerwaarde daarvan geweest?</a:t>
            </a:r>
          </a:p>
        </p:txBody>
      </p:sp>
    </p:spTree>
    <p:extLst>
      <p:ext uri="{BB962C8B-B14F-4D97-AF65-F5344CB8AC3E}">
        <p14:creationId xmlns:p14="http://schemas.microsoft.com/office/powerpoint/2010/main" val="4726086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dirty="0">
              <a:cs typeface="Poppins"/>
            </a:endParaRPr>
          </a:p>
          <a:p>
            <a:pPr marL="0" indent="0" fontAlgn="base">
              <a:spcAft>
                <a:spcPts val="600"/>
              </a:spcAft>
              <a:buNone/>
              <a:tabLst>
                <a:tab pos="341630" algn="l"/>
                <a:tab pos="449580" algn="l"/>
              </a:tabLst>
            </a:pPr>
            <a:endParaRPr lang="nl-NL" sz="1800"/>
          </a:p>
          <a:p>
            <a:pPr marL="287655" indent="-287655" fontAlgn="base">
              <a:spcAft>
                <a:spcPts val="600"/>
              </a:spcAft>
            </a:pPr>
            <a:r>
              <a:rPr lang="nl-NL" sz="1800" dirty="0"/>
              <a:t>Hoe maak jij het begin van de palliatieve fase bespreekbaar met de patiënt en diens naasten?</a:t>
            </a:r>
            <a:endParaRPr lang="nl-NL" sz="1800" dirty="0">
              <a:cs typeface="Poppins"/>
            </a:endParaRPr>
          </a:p>
          <a:p>
            <a:pPr marL="287655" indent="-287655" fontAlgn="base">
              <a:spcAft>
                <a:spcPts val="600"/>
              </a:spcAft>
            </a:pPr>
            <a:r>
              <a:rPr lang="nl-NL" sz="1800" dirty="0"/>
              <a:t>Wat is voor jou een aanleiding om jezelf de surprise question te stellen?</a:t>
            </a:r>
            <a:endParaRPr lang="nl-NL" sz="1800" dirty="0">
              <a:cs typeface="Poppins"/>
            </a:endParaRPr>
          </a:p>
          <a:p>
            <a:pPr marL="287655" indent="-287655" fontAlgn="base">
              <a:spcAft>
                <a:spcPts val="600"/>
              </a:spcAft>
            </a:pPr>
            <a:r>
              <a:rPr lang="nl-NL" sz="1800" dirty="0"/>
              <a:t>Wat is een signaal dat je tijdiger kan markeren en welke mogelijkheden zie je om dit te doen? </a:t>
            </a:r>
            <a:endParaRPr lang="nl-NL" sz="1800" dirty="0">
              <a:cs typeface="Poppins"/>
            </a:endParaRPr>
          </a:p>
          <a:p>
            <a:pPr marL="287655" lvl="0" indent="-287655" fontAlgn="base">
              <a:spcAft>
                <a:spcPts val="600"/>
              </a:spcAft>
            </a:pPr>
            <a:r>
              <a:rPr lang="nl-NL" sz="1800" dirty="0"/>
              <a:t>Vind je dat het begin van de palliatieve fase altijd moet worden besproken met de naasten? Hoe ga je ermee om als een patiënt dit niet wil?</a:t>
            </a:r>
            <a:endParaRPr lang="nl-NL" sz="1800" dirty="0">
              <a:cs typeface="Poppins"/>
            </a:endParaRPr>
          </a:p>
          <a:p>
            <a:pPr marL="287655" lvl="0" indent="-287655" fontAlgn="base">
              <a:spcAft>
                <a:spcPts val="600"/>
              </a:spcAft>
            </a:pPr>
            <a:r>
              <a:rPr lang="nl-NL" sz="1800" dirty="0"/>
              <a:t>Wanneer kan markering lastig zijn? Heb je een voorbeeld van een eigen ervaring waarin je dit lastig vond, bijvoorbeeld bij bepaalde ziektebeelden?</a:t>
            </a:r>
            <a:endParaRPr lang="nl-NL" sz="1800" dirty="0">
              <a:cs typeface="Poppins"/>
            </a:endParaRPr>
          </a:p>
          <a:p>
            <a:pPr marL="0" lvl="0" indent="0" fontAlgn="base">
              <a:spcAft>
                <a:spcPts val="600"/>
              </a:spcAft>
              <a:buNone/>
            </a:pPr>
            <a:endParaRPr lang="nl-NL" sz="1800">
              <a:highlight>
                <a:srgbClr val="FFFF00"/>
              </a:highlight>
            </a:endParaRPr>
          </a:p>
        </p:txBody>
      </p:sp>
    </p:spTree>
    <p:extLst>
      <p:ext uri="{BB962C8B-B14F-4D97-AF65-F5344CB8AC3E}">
        <p14:creationId xmlns:p14="http://schemas.microsoft.com/office/powerpoint/2010/main" val="37482255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4196722"/>
          </a:xfrm>
        </p:spPr>
        <p:txBody>
          <a:bodyPr/>
          <a:lstStyle/>
          <a:p>
            <a:pPr algn="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br>
              <a:rPr lang="nl-NL" sz="6000" dirty="0">
                <a:latin typeface="Poppins Light"/>
                <a:cs typeface="Poppins Light"/>
              </a:rPr>
            </a:b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De palliatieve fase van </a:t>
            </a:r>
            <a:br>
              <a:rPr lang="nl-NL" sz="6000" dirty="0">
                <a:latin typeface="Poppins Light"/>
                <a:cs typeface="Poppins Light"/>
              </a:rPr>
            </a:br>
            <a:r>
              <a:rPr lang="nl-NL" sz="6000" dirty="0">
                <a:latin typeface="Poppins Light"/>
                <a:cs typeface="Poppins Light"/>
              </a:rPr>
              <a:t>de ziekte begint'</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5" name="Afbeelding 4" descr="Afbeelding met persoon, kleding, Menselijk gezicht, bril&#10;&#10;Automatisch gegenereerde beschrijving">
            <a:extLst>
              <a:ext uri="{FF2B5EF4-FFF2-40B4-BE49-F238E27FC236}">
                <a16:creationId xmlns:a16="http://schemas.microsoft.com/office/drawing/2014/main" id="{6F353614-6066-17EC-C979-9D94E9B262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508494"/>
            <a:ext cx="4380759" cy="2920506"/>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01003"/>
            <a:ext cx="10267949" cy="46519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dirty="0">
                <a:hlinkClick r:id="rId3"/>
              </a:rPr>
              <a:t>Kwaliteitskader </a:t>
            </a:r>
            <a:r>
              <a:rPr lang="nl-NL" sz="1600">
                <a:hlinkClick r:id="rId3"/>
              </a:rPr>
              <a:t>palliatieve </a:t>
            </a:r>
            <a:r>
              <a:rPr lang="nl-NL" sz="1600" dirty="0">
                <a:hlinkClick r:id="rId3"/>
              </a:rPr>
              <a:t>zorg Nederland [PDF]</a:t>
            </a:r>
            <a:r>
              <a:rPr lang="nl-NL" sz="1600" dirty="0"/>
              <a:t> </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4"/>
              </a:rPr>
              <a:t>Aanvullende informatie over het </a:t>
            </a:r>
            <a:r>
              <a:rPr lang="nl-NL" sz="1600">
                <a:cs typeface="Poppins"/>
                <a:hlinkClick r:id="rId4"/>
              </a:rPr>
              <a:t>kwaliteitskader </a:t>
            </a:r>
            <a:r>
              <a:rPr lang="nl-NL" sz="1600" dirty="0">
                <a:cs typeface="Poppins"/>
                <a:hlinkClick r:id="rId4"/>
              </a:rPr>
              <a:t>[Palliaweb]</a:t>
            </a:r>
            <a:endParaRPr lang="nl-NL" sz="1600" dirty="0">
              <a:cs typeface="Poppins"/>
            </a:endParaRPr>
          </a:p>
          <a:p>
            <a:pPr marL="342900" indent="-342900" fontAlgn="base">
              <a:lnSpc>
                <a:spcPct val="150000"/>
              </a:lnSpc>
              <a:spcAft>
                <a:spcPts val="600"/>
              </a:spcAft>
              <a:buFont typeface="Maiandra GD" panose="020E0502030308020204" pitchFamily="34" charset="0"/>
              <a:buChar char="•"/>
            </a:pPr>
            <a:r>
              <a:rPr lang="nl-NL" sz="1600" dirty="0">
                <a:cs typeface="Poppins"/>
                <a:hlinkClick r:id="rId5"/>
              </a:rPr>
              <a:t>Informatie over </a:t>
            </a:r>
            <a:r>
              <a:rPr lang="nl-NL" sz="1600">
                <a:cs typeface="Poppins"/>
                <a:hlinkClick r:id="rId5"/>
              </a:rPr>
              <a:t>Markering </a:t>
            </a:r>
            <a:r>
              <a:rPr lang="nl-NL" sz="1600" dirty="0">
                <a:cs typeface="Poppins"/>
                <a:hlinkClick r:id="rId5"/>
              </a:rPr>
              <a:t>[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6"/>
              </a:rPr>
              <a:t>SPICT [meetinstrument]</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7"/>
              </a:rPr>
              <a:t>Dubbele surprise question [Palliaweb]</a:t>
            </a:r>
            <a:endParaRPr lang="nl-NL" sz="1600" dirty="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8"/>
              </a:rPr>
              <a:t>Podcastaflevering 1 - Palliapodcast | De palliatieve fase van de ziekte begint</a:t>
            </a:r>
            <a:r>
              <a:rPr lang="nl-NL" sz="1600" dirty="0">
                <a:cs typeface="Poppins"/>
              </a:rPr>
              <a:t> </a:t>
            </a:r>
          </a:p>
          <a:p>
            <a:pPr marL="342900" indent="-342900">
              <a:lnSpc>
                <a:spcPct val="150000"/>
              </a:lnSpc>
              <a:spcAft>
                <a:spcPts val="600"/>
              </a:spcAft>
              <a:buFont typeface="Maiandra GD" panose="020E0502030308020204" pitchFamily="34" charset="0"/>
              <a:buChar char="•"/>
            </a:pPr>
            <a:r>
              <a:rPr lang="nl-NL" sz="1600" dirty="0">
                <a:cs typeface="Poppins"/>
                <a:hlinkClick r:id="rId9"/>
              </a:rPr>
              <a:t>Animatie </a:t>
            </a:r>
            <a:r>
              <a:rPr lang="nl-NL" sz="1600">
                <a:cs typeface="Poppins"/>
                <a:hlinkClick r:id="rId9"/>
              </a:rPr>
              <a:t>Markering </a:t>
            </a:r>
            <a:r>
              <a:rPr lang="nl-NL" sz="1600" dirty="0">
                <a:cs typeface="Poppins"/>
                <a:hlinkClick r:id="rId9"/>
              </a:rPr>
              <a:t>[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dirty="0">
                <a:cs typeface="Poppins"/>
                <a:hlinkClick r:id="rId10"/>
              </a:rPr>
              <a:t>Animaties </a:t>
            </a:r>
            <a:r>
              <a:rPr lang="nl-NL" sz="1600">
                <a:cs typeface="Poppins"/>
                <a:hlinkClick r:id="rId10"/>
              </a:rPr>
              <a:t>Essenties kwaliteitskader</a:t>
            </a:r>
            <a:r>
              <a:rPr lang="nl-NL" sz="1600" dirty="0">
                <a:cs typeface="Poppins"/>
                <a:hlinkClick r:id="rId10"/>
              </a:rPr>
              <a:t> [YouTube]</a:t>
            </a:r>
          </a:p>
          <a:p>
            <a:pPr marL="342900" indent="-342900">
              <a:lnSpc>
                <a:spcPct val="150000"/>
              </a:lnSpc>
              <a:spcAft>
                <a:spcPts val="600"/>
              </a:spcAft>
              <a:buFont typeface="Maiandra GD" panose="020E0502030308020204" pitchFamily="34" charset="0"/>
              <a:buChar char="•"/>
            </a:pPr>
            <a:r>
              <a:rPr lang="nl-NL" sz="1600" dirty="0">
                <a:cs typeface="Poppins"/>
                <a:hlinkClick r:id="rId11"/>
              </a:rPr>
              <a:t>Hulpmiddelen Markering [Palliaweb]</a:t>
            </a:r>
          </a:p>
          <a:p>
            <a:pPr marL="342900" indent="-342900">
              <a:lnSpc>
                <a:spcPct val="150000"/>
              </a:lnSpc>
              <a:spcAft>
                <a:spcPts val="600"/>
              </a:spcAft>
              <a:buFont typeface="Maiandra GD,Sans-Serif" panose="020E0502030308020204" pitchFamily="34" charset="0"/>
              <a:buChar char="•"/>
            </a:pPr>
            <a:r>
              <a:rPr lang="nl-NL" sz="1600" dirty="0">
                <a:cs typeface="Poppins"/>
                <a:hlinkClick r:id="rId12"/>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dirty="0">
                <a:cs typeface="Poppins"/>
                <a:hlinkClick r:id="rId13"/>
              </a:rPr>
              <a:t>Meetinstrumenten - overzicht [Palliaweb]</a:t>
            </a:r>
            <a:r>
              <a:rPr lang="nl-NL" sz="1600" dirty="0">
                <a:cs typeface="Poppins"/>
              </a:rPr>
              <a:t> </a:t>
            </a:r>
            <a:endParaRPr lang="nl-NL" dirty="0"/>
          </a:p>
        </p:txBody>
      </p:sp>
    </p:spTree>
    <p:extLst>
      <p:ext uri="{BB962C8B-B14F-4D97-AF65-F5344CB8AC3E}">
        <p14:creationId xmlns:p14="http://schemas.microsoft.com/office/powerpoint/2010/main" val="1887405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2</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Markering </a:t>
            </a:r>
            <a:endParaRPr lang="nl-NL" sz="1800" b="1">
              <a:cs typeface="Poppins"/>
            </a:endParaRPr>
          </a:p>
          <a:p>
            <a:pPr marL="575945" lvl="1" indent="-287655">
              <a:spcBef>
                <a:spcPts val="600"/>
              </a:spcBef>
            </a:pPr>
            <a:r>
              <a:rPr lang="nl-NL" sz="1800"/>
              <a:t>Wat is markering?</a:t>
            </a:r>
            <a:endParaRPr lang="nl-NL" sz="1800">
              <a:cs typeface="Poppins"/>
            </a:endParaRPr>
          </a:p>
          <a:p>
            <a:pPr marL="575945" lvl="1" indent="-287655">
              <a:spcBef>
                <a:spcPts val="600"/>
              </a:spcBef>
            </a:pPr>
            <a:r>
              <a:rPr lang="nl-NL" sz="1800"/>
              <a:t>Welke hulpmiddelen zijn er voor marker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67791"/>
            <a:ext cx="10383452" cy="1938992"/>
          </a:xfrm>
          <a:prstGeom prst="rect">
            <a:avLst/>
          </a:prstGeom>
          <a:noFill/>
        </p:spPr>
        <p:txBody>
          <a:bodyPr wrap="square" lIns="91440" tIns="45720" rIns="91440" bIns="45720" anchor="t">
            <a:spAutoFit/>
          </a:bodyPr>
          <a:lstStyle/>
          <a:p>
            <a:endParaRPr lang="nl-NL" dirty="0"/>
          </a:p>
          <a:p>
            <a:pPr marL="285750" indent="-285750">
              <a:spcBef>
                <a:spcPts val="1200"/>
              </a:spcBef>
              <a:buFont typeface="Arial" panose="020B0604020202020204" pitchFamily="34" charset="0"/>
              <a:buChar char="•"/>
            </a:pPr>
            <a:r>
              <a:rPr lang="nl-NL" dirty="0"/>
              <a:t>Je (h)erkent dat de patiënt in de palliatieve fase van de ziekte is beland (markering)</a:t>
            </a:r>
            <a:endParaRPr lang="nl-NL" dirty="0">
              <a:cs typeface="Poppins"/>
            </a:endParaRPr>
          </a:p>
          <a:p>
            <a:pPr marL="285750" indent="-285750">
              <a:spcBef>
                <a:spcPts val="1200"/>
              </a:spcBef>
              <a:buFont typeface="Arial" panose="020B0604020202020204" pitchFamily="34" charset="0"/>
              <a:buChar char="•"/>
            </a:pPr>
            <a:r>
              <a:rPr lang="nl-NL" dirty="0"/>
              <a:t>Je bent in staat de markeringsvraag op het juiste (tijdige) moment en op de juiste manier (bekwaam) toe te passen</a:t>
            </a:r>
            <a:endParaRPr lang="nl-NL" dirty="0">
              <a:cs typeface="Poppins"/>
            </a:endParaRPr>
          </a:p>
          <a:p>
            <a:pPr marL="285750" indent="-285750">
              <a:spcBef>
                <a:spcPts val="1200"/>
              </a:spcBef>
              <a:buFont typeface="Arial" panose="020B0604020202020204" pitchFamily="34" charset="0"/>
              <a:buChar char="•"/>
            </a:pPr>
            <a:r>
              <a:rPr lang="nl-NL" dirty="0"/>
              <a:t>Je bent in staat te reflecteren op ervaringen vanuit jouw eigen praktijk</a:t>
            </a:r>
            <a:endParaRPr lang="nl-NL" dirty="0">
              <a:cs typeface="Poppins"/>
            </a:endParaRP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Wat is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779802" y="1848484"/>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287655" indent="-287655" fontAlgn="base">
              <a:lnSpc>
                <a:spcPct val="200000"/>
              </a:lnSpc>
            </a:pPr>
            <a:r>
              <a:rPr lang="nl-NL" sz="1800" dirty="0"/>
              <a:t>Schrijf beknopt - in een paar zinnen - voor jezelf op: wat versta ik onder markering?</a:t>
            </a:r>
            <a:endParaRPr lang="nl-NL" sz="1800" dirty="0">
              <a:cs typeface="Poppins"/>
            </a:endParaRPr>
          </a:p>
          <a:p>
            <a:pPr marL="287655" indent="-287655" fontAlgn="base">
              <a:lnSpc>
                <a:spcPct val="200000"/>
              </a:lnSpc>
            </a:pPr>
            <a:r>
              <a:rPr lang="nl-NL" sz="1800" dirty="0">
                <a:cs typeface="Poppins"/>
              </a:rPr>
              <a:t>Schrijf voor jezelf op of je al hulpmiddelen of instrumenten gebruikt om markering in de praktijk toe te passen en zo ja, welke</a:t>
            </a:r>
          </a:p>
          <a:p>
            <a:pPr marL="287655" indent="-287655" fontAlgn="base">
              <a:lnSpc>
                <a:spcPct val="200000"/>
              </a:lnSpc>
            </a:pPr>
            <a:r>
              <a:rPr lang="nl-NL" sz="1800" dirty="0"/>
              <a:t>Bespreek wat je hebt opgeschreven met degene 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170210"/>
            <a:ext cx="6096000" cy="276999"/>
          </a:xfrm>
          <a:prstGeom prst="rect">
            <a:avLst/>
          </a:prstGeom>
          <a:noFill/>
        </p:spPr>
        <p:txBody>
          <a:bodyPr wrap="square">
            <a:spAutoFit/>
          </a:bodyPr>
          <a:lstStyle/>
          <a:p>
            <a:r>
              <a:rPr lang="nl-NL" sz="1200" u="sng">
                <a:hlinkClick r:id="rId3"/>
              </a:rPr>
              <a:t>https://www.youtube.com/watch?v=nmoCJ7tr94c&amp;t=2s</a:t>
            </a:r>
            <a:endParaRPr lang="nl-NL" sz="1200" u="sng"/>
          </a:p>
        </p:txBody>
      </p:sp>
      <p:pic>
        <p:nvPicPr>
          <p:cNvPr id="2" name="Afbeelding 1" descr="Afbeelding met tekst, kleding, persoon, schoeisel&#10;&#10;Automatisch gegenereerde beschrijving">
            <a:extLst>
              <a:ext uri="{FF2B5EF4-FFF2-40B4-BE49-F238E27FC236}">
                <a16:creationId xmlns:a16="http://schemas.microsoft.com/office/drawing/2014/main" id="{1C40F161-CD5F-2D8A-E488-90F8D25191AF}"/>
              </a:ext>
            </a:extLst>
          </p:cNvPr>
          <p:cNvPicPr>
            <a:picLocks noChangeAspect="1"/>
          </p:cNvPicPr>
          <p:nvPr/>
        </p:nvPicPr>
        <p:blipFill>
          <a:blip r:embed="rId4"/>
          <a:stretch>
            <a:fillRect/>
          </a:stretch>
        </p:blipFill>
        <p:spPr>
          <a:xfrm>
            <a:off x="3028293" y="1502158"/>
            <a:ext cx="5898932" cy="3315029"/>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Marker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r>
              <a:rPr lang="nl-NL" sz="1800"/>
              <a:t>Om tijdig de waarden, wensen en behoeften van patiënten te kennen en te kunnen starten met proactieve palliatieve zorg, is het belangrijk patiënten die een verhoogde kans hebben om achteruit te gaan en te overlijden </a:t>
            </a:r>
            <a:r>
              <a:rPr lang="nl-NL" sz="1800" b="1"/>
              <a:t>als palliatief te markeren</a:t>
            </a:r>
            <a:r>
              <a:rPr lang="nl-NL" sz="1800"/>
              <a:t>. Dit is belangrijk om de kwaliteit van leven en sterven te optimaliseren. </a:t>
            </a: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A054F18-9B58-459F-B178-9F52D2EB9C41}">
  <ds:schemaRefs>
    <ds:schemaRef ds:uri="http://purl.org/dc/dcmitype/"/>
    <ds:schemaRef ds:uri="http://schemas.openxmlformats.org/package/2006/metadata/core-properties"/>
    <ds:schemaRef ds:uri="http://www.w3.org/XML/1998/namespace"/>
    <ds:schemaRef ds:uri="http://schemas.microsoft.com/office/2006/documentManagement/types"/>
    <ds:schemaRef ds:uri="http://purl.org/dc/terms/"/>
    <ds:schemaRef ds:uri="http://purl.org/dc/elements/1.1/"/>
    <ds:schemaRef ds:uri="27e5a31e-3c06-4464-8960-dd0eb8e50dc0"/>
    <ds:schemaRef ds:uri="http://schemas.microsoft.com/office/2006/metadata/properties"/>
    <ds:schemaRef ds:uri="http://schemas.microsoft.com/office/infopath/2007/PartnerControls"/>
    <ds:schemaRef ds:uri="4a1757f0-5a9d-4771-b054-932f5e63bd10"/>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F4F2D2CD-CCB8-4F62-86BB-666F284F98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e5a31e-3c06-4464-8960-dd0eb8e50dc0"/>
    <ds:schemaRef ds:uri="4a1757f0-5a9d-4771-b054-932f5e63bd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ZNL</Template>
  <TotalTime>42</TotalTime>
  <Words>3050</Words>
  <Application>Microsoft Office PowerPoint</Application>
  <PresentationFormat>Breedbeeld</PresentationFormat>
  <Paragraphs>326</Paragraphs>
  <Slides>22</Slides>
  <Notes>21</Notes>
  <HiddenSlides>0</HiddenSlides>
  <MMClips>0</MMClips>
  <ScaleCrop>false</ScaleCrop>
  <HeadingPairs>
    <vt:vector size="6" baseType="variant">
      <vt:variant>
        <vt:lpstr>Gebruikte lettertypen</vt:lpstr>
      </vt:variant>
      <vt:variant>
        <vt:i4>10</vt:i4>
      </vt:variant>
      <vt:variant>
        <vt:lpstr>Thema</vt:lpstr>
      </vt:variant>
      <vt:variant>
        <vt:i4>1</vt:i4>
      </vt:variant>
      <vt:variant>
        <vt:lpstr>Diatitels</vt:lpstr>
      </vt:variant>
      <vt:variant>
        <vt:i4>22</vt:i4>
      </vt:variant>
    </vt:vector>
  </HeadingPairs>
  <TitlesOfParts>
    <vt:vector size="33" baseType="lpstr">
      <vt:lpstr>Arial</vt:lpstr>
      <vt:lpstr>Calibri</vt:lpstr>
      <vt:lpstr>century-gothic</vt:lpstr>
      <vt:lpstr>Maiandra GD</vt:lpstr>
      <vt:lpstr>Maiandra GD,Sans-Serif</vt:lpstr>
      <vt:lpstr>Poppins</vt:lpstr>
      <vt:lpstr>Poppins Light</vt:lpstr>
      <vt:lpstr>Poppins Medium</vt:lpstr>
      <vt:lpstr>Poppins,Sans-Serif</vt:lpstr>
      <vt:lpstr>Segoe UI</vt:lpstr>
      <vt:lpstr>PZNL</vt:lpstr>
      <vt:lpstr>Disclaimer</vt:lpstr>
      <vt:lpstr>     Workshop  'De palliatieve fase van  de ziekte begint'</vt:lpstr>
      <vt:lpstr>Inleiding</vt:lpstr>
      <vt:lpstr>Programma</vt:lpstr>
      <vt:lpstr>Voorstelronde</vt:lpstr>
      <vt:lpstr>Leerdoelen</vt:lpstr>
      <vt:lpstr>Wat is markering?</vt:lpstr>
      <vt:lpstr>Animatie Markering</vt:lpstr>
      <vt:lpstr>Essentie Markering</vt:lpstr>
      <vt:lpstr>Kwaliteitskader</vt:lpstr>
      <vt:lpstr>Surprise question </vt:lpstr>
      <vt:lpstr>Dubbele surprise question </vt:lpstr>
      <vt:lpstr>Supportive Care Indicators Tool (SPICT)</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152</cp:revision>
  <dcterms:created xsi:type="dcterms:W3CDTF">2023-11-22T08:40:12Z</dcterms:created>
  <dcterms:modified xsi:type="dcterms:W3CDTF">2024-12-02T14:5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